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86" r:id="rId4"/>
    <p:sldMasterId id="2147483708" r:id="rId5"/>
    <p:sldMasterId id="2147483740" r:id="rId6"/>
  </p:sldMasterIdLst>
  <p:notesMasterIdLst>
    <p:notesMasterId r:id="rId42"/>
  </p:notesMasterIdLst>
  <p:handoutMasterIdLst>
    <p:handoutMasterId r:id="rId43"/>
  </p:handoutMasterIdLst>
  <p:sldIdLst>
    <p:sldId id="374" r:id="rId7"/>
    <p:sldId id="549" r:id="rId8"/>
    <p:sldId id="548" r:id="rId9"/>
    <p:sldId id="552" r:id="rId10"/>
    <p:sldId id="526" r:id="rId11"/>
    <p:sldId id="546" r:id="rId12"/>
    <p:sldId id="537" r:id="rId13"/>
    <p:sldId id="528" r:id="rId14"/>
    <p:sldId id="540" r:id="rId15"/>
    <p:sldId id="539" r:id="rId16"/>
    <p:sldId id="527" r:id="rId17"/>
    <p:sldId id="530" r:id="rId18"/>
    <p:sldId id="544" r:id="rId19"/>
    <p:sldId id="538" r:id="rId20"/>
    <p:sldId id="545" r:id="rId21"/>
    <p:sldId id="532" r:id="rId22"/>
    <p:sldId id="536" r:id="rId23"/>
    <p:sldId id="533" r:id="rId24"/>
    <p:sldId id="529" r:id="rId25"/>
    <p:sldId id="531" r:id="rId26"/>
    <p:sldId id="535" r:id="rId27"/>
    <p:sldId id="541" r:id="rId28"/>
    <p:sldId id="534" r:id="rId29"/>
    <p:sldId id="260" r:id="rId30"/>
    <p:sldId id="261" r:id="rId31"/>
    <p:sldId id="263" r:id="rId32"/>
    <p:sldId id="898" r:id="rId33"/>
    <p:sldId id="900" r:id="rId34"/>
    <p:sldId id="884" r:id="rId35"/>
    <p:sldId id="886" r:id="rId36"/>
    <p:sldId id="887" r:id="rId37"/>
    <p:sldId id="899" r:id="rId38"/>
    <p:sldId id="885" r:id="rId39"/>
    <p:sldId id="547" r:id="rId40"/>
    <p:sldId id="525" r:id="rId41"/>
  </p:sldIdLst>
  <p:sldSz cx="12192000" cy="6858000"/>
  <p:notesSz cx="6797675" cy="9926638"/>
  <p:embeddedFontLst>
    <p:embeddedFont>
      <p:font typeface="ＭＳ Ｐゴシック" panose="020B0600070205080204" pitchFamily="34" charset="-128"/>
      <p:regular r:id="rId44"/>
    </p:embeddedFont>
    <p:embeddedFont>
      <p:font typeface="Calibri" panose="020F0502020204030204" pitchFamily="34" charset="0"/>
      <p:regular r:id="rId45"/>
      <p:bold r:id="rId46"/>
      <p:italic r:id="rId47"/>
      <p:boldItalic r:id="rId48"/>
    </p:embeddedFont>
    <p:embeddedFont>
      <p:font typeface="Calibri Light" panose="020F0302020204030204" pitchFamily="34" charset="0"/>
      <p:regular r:id="rId49"/>
      <p:italic r:id="rId50"/>
    </p:embeddedFont>
    <p:embeddedFont>
      <p:font typeface="Open sans" panose="020B0604020202020204" charset="0"/>
      <p:regular r:id="rId51"/>
      <p:bold r:id="rId52"/>
      <p:italic r:id="rId53"/>
      <p:boldItalic r:id="rId54"/>
    </p:embeddedFont>
    <p:embeddedFont>
      <p:font typeface="Open sans" panose="020B0604020202020204" charset="0"/>
      <p:regular r:id="rId51"/>
      <p:bold r:id="rId52"/>
      <p:italic r:id="rId53"/>
      <p:boldItalic r:id="rId54"/>
    </p:embeddedFont>
    <p:embeddedFont>
      <p:font typeface="Open Sans Extrabold" panose="020B0604020202020204" charset="0"/>
      <p:bold r:id="rId55"/>
      <p:boldItalic r:id="rId56"/>
    </p:embeddedFont>
    <p:embeddedFont>
      <p:font typeface="Source Sans Pro" panose="020B0503030403020204" pitchFamily="34" charset="0"/>
      <p:regular r:id="rId57"/>
      <p:bold r:id="rId58"/>
      <p:italic r:id="rId59"/>
      <p:boldItalic r:id="rId60"/>
    </p:embeddedFont>
    <p:embeddedFont>
      <p:font typeface="Sweco Sans" panose="00000500000000000000" charset="0"/>
      <p:regular r:id="rId61"/>
      <p:bold r:id="rId62"/>
      <p:italic r:id="rId63"/>
      <p:boldItalic r:id="rId64"/>
    </p:embeddedFont>
    <p:embeddedFont>
      <p:font typeface="Sweco Sans Medium" panose="00000600000000000000" charset="0"/>
      <p:regular r:id="rId65"/>
      <p:bold r:id="rId66"/>
      <p:italic r:id="rId67"/>
      <p:boldItalic r:id="rId68"/>
    </p:embeddedFont>
  </p:embeddedFontLst>
  <p:custDataLst>
    <p:tags r:id="rId69"/>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20" userDrawn="1">
          <p15:clr>
            <a:srgbClr val="A4A3A4"/>
          </p15:clr>
        </p15:guide>
        <p15:guide id="2" pos="506" userDrawn="1">
          <p15:clr>
            <a:srgbClr val="A4A3A4"/>
          </p15:clr>
        </p15:guide>
        <p15:guide id="3" pos="7514" userDrawn="1">
          <p15:clr>
            <a:srgbClr val="A4A3A4"/>
          </p15:clr>
        </p15:guide>
        <p15:guide id="4" orient="horz" pos="981" userDrawn="1">
          <p15:clr>
            <a:srgbClr val="A4A3A4"/>
          </p15:clr>
        </p15:guide>
        <p15:guide id="5" orient="horz" pos="1321" userDrawn="1">
          <p15:clr>
            <a:srgbClr val="A4A3A4"/>
          </p15:clr>
        </p15:guide>
        <p15:guide id="6" orient="horz" pos="396" userDrawn="1">
          <p15:clr>
            <a:srgbClr val="A4A3A4"/>
          </p15:clr>
        </p15:guide>
        <p15:guide id="7" orient="horz" pos="164" userDrawn="1">
          <p15:clr>
            <a:srgbClr val="A4A3A4"/>
          </p15:clr>
        </p15:guide>
        <p15:guide id="8" pos="6738" userDrawn="1">
          <p15:clr>
            <a:srgbClr val="A4A3A4"/>
          </p15:clr>
        </p15:guide>
        <p15:guide id="9" orient="horz" pos="4156" userDrawn="1">
          <p15:clr>
            <a:srgbClr val="A4A3A4"/>
          </p15:clr>
        </p15:guide>
        <p15:guide id="10" orient="horz" pos="2160" userDrawn="1">
          <p15:clr>
            <a:srgbClr val="A4A3A4"/>
          </p15:clr>
        </p15:guide>
        <p15:guide id="11" orient="horz" pos="420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htiö, Sanukka" initials="LS" lastIdx="1" clrIdx="0">
    <p:extLst>
      <p:ext uri="{19B8F6BF-5375-455C-9EA6-DF929625EA0E}">
        <p15:presenceInfo xmlns:p15="http://schemas.microsoft.com/office/powerpoint/2012/main" userId="S::Sanukka.Lehtio@sweco.fi::4e5ad5f7-d6db-465f-ac36-7fed05963f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6E6"/>
    <a:srgbClr val="376AC3"/>
    <a:srgbClr val="587FC5"/>
    <a:srgbClr val="E2FAE6"/>
    <a:srgbClr val="FBE5E5"/>
    <a:srgbClr val="90EC9F"/>
    <a:srgbClr val="FFFAD9"/>
    <a:srgbClr val="E2E0DA"/>
    <a:srgbClr val="F0E0D0"/>
    <a:srgbClr val="E7E7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B6285D-9CBD-4A3C-99A3-F72B130DFDD3}" v="1" dt="2022-04-26T07:06:25.937"/>
    <p1510:client id="{64A1304D-604A-414B-B95C-FF7ADF9C4A42}" v="45" dt="2022-04-26T07:55:09.460"/>
    <p1510:client id="{051EB65B-0F12-4A36-96F2-246D0E8AB412}" v="282" dt="2022-04-25T08:12:14.754"/>
    <p1510:client id="{5CA60A83-3298-4756-A4F4-104286B3737E}" v="11" dt="2022-04-25T07:07:24.155"/>
    <p1510:client id="{81154E66-771C-47B7-9B4E-681D488BA969}" v="148" dt="2022-04-26T07:23:52.259"/>
    <p1510:client id="{64C5611B-2470-47C2-B6DF-35869390B71B}" v="1" dt="2022-04-26T05:35:31.510"/>
    <p1510:client id="{6E583D69-4E46-4D81-B507-C58E99CD8A5B}" v="84" dt="2022-04-26T13:23:14.579"/>
    <p1510:client id="{65F7B625-A621-498D-B247-22DB7533E92C}" v="7" dt="2022-04-26T11:24:38.395"/>
    <p1510:client id="{9650F855-9BA6-4517-A0DA-BB6A23E8A30F}" v="348" dt="2022-04-25T08:15:52.865"/>
    <p1510:client id="{FAA89293-E1C7-4936-AB96-77247BE5CF46}" v="34" dt="2022-04-26T07:58:28.048"/>
  </p1510:revLst>
</p1510:revInfo>
</file>

<file path=ppt/tableStyles.xml><?xml version="1.0" encoding="utf-8"?>
<a:tblStyleLst xmlns:a="http://schemas.openxmlformats.org/drawingml/2006/main" def="{69012ECD-51FC-41F1-AA8D-1B2483CD663E}">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just format 2 - Dekorfärg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Vaalea tyyli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8"/>
      </p:cViewPr>
      <p:guideLst>
        <p:guide orient="horz" pos="4020"/>
        <p:guide pos="506"/>
        <p:guide pos="7514"/>
        <p:guide orient="horz" pos="981"/>
        <p:guide orient="horz" pos="1321"/>
        <p:guide orient="horz" pos="396"/>
        <p:guide orient="horz" pos="164"/>
        <p:guide pos="6738"/>
        <p:guide orient="horz" pos="4156"/>
        <p:guide orient="horz" pos="2160"/>
        <p:guide orient="horz" pos="4201"/>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notesMaster" Target="notesMasters/notesMaster1.xml"/><Relationship Id="rId47" Type="http://schemas.openxmlformats.org/officeDocument/2006/relationships/font" Target="fonts/font4.fntdata"/><Relationship Id="rId63" Type="http://schemas.openxmlformats.org/officeDocument/2006/relationships/font" Target="fonts/font20.fntdata"/><Relationship Id="rId68" Type="http://schemas.openxmlformats.org/officeDocument/2006/relationships/font" Target="fonts/font25.fntdata"/><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font" Target="fonts/font2.fntdata"/><Relationship Id="rId53" Type="http://schemas.openxmlformats.org/officeDocument/2006/relationships/font" Target="fonts/font10.fntdata"/><Relationship Id="rId58" Type="http://schemas.openxmlformats.org/officeDocument/2006/relationships/font" Target="fonts/font15.fntdata"/><Relationship Id="rId66" Type="http://schemas.openxmlformats.org/officeDocument/2006/relationships/font" Target="fonts/font23.fntdata"/><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font" Target="fonts/font18.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handoutMaster" Target="handoutMasters/handoutMaster1.xml"/><Relationship Id="rId48" Type="http://schemas.openxmlformats.org/officeDocument/2006/relationships/font" Target="fonts/font5.fntdata"/><Relationship Id="rId56" Type="http://schemas.openxmlformats.org/officeDocument/2006/relationships/font" Target="fonts/font13.fntdata"/><Relationship Id="rId64" Type="http://schemas.openxmlformats.org/officeDocument/2006/relationships/font" Target="fonts/font21.fntdata"/><Relationship Id="rId69"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font" Target="fonts/font8.fntdata"/><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font" Target="fonts/font3.fntdata"/><Relationship Id="rId59" Type="http://schemas.openxmlformats.org/officeDocument/2006/relationships/font" Target="fonts/font16.fntdata"/><Relationship Id="rId67" Type="http://schemas.openxmlformats.org/officeDocument/2006/relationships/font" Target="fonts/font24.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font" Target="fonts/font11.fntdata"/><Relationship Id="rId62" Type="http://schemas.openxmlformats.org/officeDocument/2006/relationships/font" Target="fonts/font19.fntdata"/><Relationship Id="rId70" Type="http://schemas.openxmlformats.org/officeDocument/2006/relationships/commentAuthors" Target="commentAuthors.xml"/><Relationship Id="rId75"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font" Target="fonts/font6.fntdata"/><Relationship Id="rId57" Type="http://schemas.openxmlformats.org/officeDocument/2006/relationships/font" Target="fonts/font14.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font" Target="fonts/font17.fntdata"/><Relationship Id="rId65" Type="http://schemas.openxmlformats.org/officeDocument/2006/relationships/font" Target="fonts/font22.fntdata"/><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font" Target="fonts/font7.fntdata"/><Relationship Id="rId55" Type="http://schemas.openxmlformats.org/officeDocument/2006/relationships/font" Target="fonts/font12.fntdata"/><Relationship Id="rId76" Type="http://schemas.microsoft.com/office/2015/10/relationships/revisionInfo" Target="revisionInfo.xml"/><Relationship Id="rId7" Type="http://schemas.openxmlformats.org/officeDocument/2006/relationships/slide" Target="slides/slide1.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ininen Antti" userId="b3f08c9e-4b6a-48e9-a186-9b2511e5fd7e" providerId="ADAL" clId="{051EB65B-0F12-4A36-96F2-246D0E8AB412}"/>
    <pc:docChg chg="undo custSel addSld delSld modSld sldOrd">
      <pc:chgData name="Heininen Antti" userId="b3f08c9e-4b6a-48e9-a186-9b2511e5fd7e" providerId="ADAL" clId="{051EB65B-0F12-4A36-96F2-246D0E8AB412}" dt="2022-04-25T08:12:14.754" v="275" actId="1076"/>
      <pc:docMkLst>
        <pc:docMk/>
      </pc:docMkLst>
      <pc:sldChg chg="addSp delSp modSp mod">
        <pc:chgData name="Heininen Antti" userId="b3f08c9e-4b6a-48e9-a186-9b2511e5fd7e" providerId="ADAL" clId="{051EB65B-0F12-4A36-96F2-246D0E8AB412}" dt="2022-04-25T07:52:44.264" v="12" actId="1076"/>
        <pc:sldMkLst>
          <pc:docMk/>
          <pc:sldMk cId="3105707221" sldId="534"/>
        </pc:sldMkLst>
        <pc:spChg chg="mod">
          <ac:chgData name="Heininen Antti" userId="b3f08c9e-4b6a-48e9-a186-9b2511e5fd7e" providerId="ADAL" clId="{051EB65B-0F12-4A36-96F2-246D0E8AB412}" dt="2022-04-25T07:52:44.264" v="12" actId="1076"/>
          <ac:spMkLst>
            <pc:docMk/>
            <pc:sldMk cId="3105707221" sldId="534"/>
            <ac:spMk id="8" creationId="{3656165F-08A9-4218-BAA5-130D8020E0CA}"/>
          </ac:spMkLst>
        </pc:spChg>
        <pc:spChg chg="add del mod">
          <ac:chgData name="Heininen Antti" userId="b3f08c9e-4b6a-48e9-a186-9b2511e5fd7e" providerId="ADAL" clId="{051EB65B-0F12-4A36-96F2-246D0E8AB412}" dt="2022-04-25T07:52:15.788" v="4"/>
          <ac:spMkLst>
            <pc:docMk/>
            <pc:sldMk cId="3105707221" sldId="534"/>
            <ac:spMk id="10" creationId="{A2B82D37-5A02-4864-B45E-EDA9AFFC746F}"/>
          </ac:spMkLst>
        </pc:spChg>
        <pc:spChg chg="add del mod">
          <ac:chgData name="Heininen Antti" userId="b3f08c9e-4b6a-48e9-a186-9b2511e5fd7e" providerId="ADAL" clId="{051EB65B-0F12-4A36-96F2-246D0E8AB412}" dt="2022-04-25T07:52:15.788" v="4"/>
          <ac:spMkLst>
            <pc:docMk/>
            <pc:sldMk cId="3105707221" sldId="534"/>
            <ac:spMk id="11" creationId="{B29B916B-2ED8-4355-BA20-F64DBDE26713}"/>
          </ac:spMkLst>
        </pc:spChg>
        <pc:spChg chg="add del mod">
          <ac:chgData name="Heininen Antti" userId="b3f08c9e-4b6a-48e9-a186-9b2511e5fd7e" providerId="ADAL" clId="{051EB65B-0F12-4A36-96F2-246D0E8AB412}" dt="2022-04-25T07:52:15.788" v="4"/>
          <ac:spMkLst>
            <pc:docMk/>
            <pc:sldMk cId="3105707221" sldId="534"/>
            <ac:spMk id="12" creationId="{01B962A2-D836-4920-A0C4-3A3B60DA5435}"/>
          </ac:spMkLst>
        </pc:spChg>
        <pc:spChg chg="add del mod">
          <ac:chgData name="Heininen Antti" userId="b3f08c9e-4b6a-48e9-a186-9b2511e5fd7e" providerId="ADAL" clId="{051EB65B-0F12-4A36-96F2-246D0E8AB412}" dt="2022-04-25T07:52:26.902" v="7" actId="21"/>
          <ac:spMkLst>
            <pc:docMk/>
            <pc:sldMk cId="3105707221" sldId="534"/>
            <ac:spMk id="14" creationId="{AD1BDC84-12DC-4CD4-AC15-30F3400A5A2B}"/>
          </ac:spMkLst>
        </pc:spChg>
        <pc:spChg chg="add del mod">
          <ac:chgData name="Heininen Antti" userId="b3f08c9e-4b6a-48e9-a186-9b2511e5fd7e" providerId="ADAL" clId="{051EB65B-0F12-4A36-96F2-246D0E8AB412}" dt="2022-04-25T07:52:26.902" v="7" actId="21"/>
          <ac:spMkLst>
            <pc:docMk/>
            <pc:sldMk cId="3105707221" sldId="534"/>
            <ac:spMk id="15" creationId="{BCEC009B-EF3E-443C-9D38-7A0BC1B709A2}"/>
          </ac:spMkLst>
        </pc:spChg>
        <pc:spChg chg="add del mod">
          <ac:chgData name="Heininen Antti" userId="b3f08c9e-4b6a-48e9-a186-9b2511e5fd7e" providerId="ADAL" clId="{051EB65B-0F12-4A36-96F2-246D0E8AB412}" dt="2022-04-25T07:52:26.902" v="7" actId="21"/>
          <ac:spMkLst>
            <pc:docMk/>
            <pc:sldMk cId="3105707221" sldId="534"/>
            <ac:spMk id="16" creationId="{4573F068-D266-40AD-9D1A-D20D371C1D7B}"/>
          </ac:spMkLst>
        </pc:spChg>
        <pc:spChg chg="add del mod">
          <ac:chgData name="Heininen Antti" userId="b3f08c9e-4b6a-48e9-a186-9b2511e5fd7e" providerId="ADAL" clId="{051EB65B-0F12-4A36-96F2-246D0E8AB412}" dt="2022-04-25T07:52:28.942" v="9"/>
          <ac:spMkLst>
            <pc:docMk/>
            <pc:sldMk cId="3105707221" sldId="534"/>
            <ac:spMk id="18" creationId="{50D3DD21-C0E2-4273-AB62-159763B85B0F}"/>
          </ac:spMkLst>
        </pc:spChg>
        <pc:spChg chg="add del mod">
          <ac:chgData name="Heininen Antti" userId="b3f08c9e-4b6a-48e9-a186-9b2511e5fd7e" providerId="ADAL" clId="{051EB65B-0F12-4A36-96F2-246D0E8AB412}" dt="2022-04-25T07:52:28.942" v="9"/>
          <ac:spMkLst>
            <pc:docMk/>
            <pc:sldMk cId="3105707221" sldId="534"/>
            <ac:spMk id="19" creationId="{F08FC2A8-5B0B-4EF5-9E85-AB0FE8B2A472}"/>
          </ac:spMkLst>
        </pc:spChg>
        <pc:spChg chg="add del mod">
          <ac:chgData name="Heininen Antti" userId="b3f08c9e-4b6a-48e9-a186-9b2511e5fd7e" providerId="ADAL" clId="{051EB65B-0F12-4A36-96F2-246D0E8AB412}" dt="2022-04-25T07:52:28.942" v="9"/>
          <ac:spMkLst>
            <pc:docMk/>
            <pc:sldMk cId="3105707221" sldId="534"/>
            <ac:spMk id="20" creationId="{E1C4BB28-9CF9-47F1-A131-5D1059A10C51}"/>
          </ac:spMkLst>
        </pc:spChg>
        <pc:picChg chg="add mod">
          <ac:chgData name="Heininen Antti" userId="b3f08c9e-4b6a-48e9-a186-9b2511e5fd7e" providerId="ADAL" clId="{051EB65B-0F12-4A36-96F2-246D0E8AB412}" dt="2022-04-25T07:52:39.866" v="11" actId="1076"/>
          <ac:picMkLst>
            <pc:docMk/>
            <pc:sldMk cId="3105707221" sldId="534"/>
            <ac:picMk id="3" creationId="{0E7B522F-77D0-4BBF-8043-09950039F921}"/>
          </ac:picMkLst>
        </pc:picChg>
        <pc:picChg chg="del">
          <ac:chgData name="Heininen Antti" userId="b3f08c9e-4b6a-48e9-a186-9b2511e5fd7e" providerId="ADAL" clId="{051EB65B-0F12-4A36-96F2-246D0E8AB412}" dt="2022-04-25T07:51:45.488" v="0" actId="478"/>
          <ac:picMkLst>
            <pc:docMk/>
            <pc:sldMk cId="3105707221" sldId="534"/>
            <ac:picMk id="6" creationId="{BBA85E0A-C996-4B77-A566-81F112A55DC3}"/>
          </ac:picMkLst>
        </pc:picChg>
        <pc:picChg chg="add del mod">
          <ac:chgData name="Heininen Antti" userId="b3f08c9e-4b6a-48e9-a186-9b2511e5fd7e" providerId="ADAL" clId="{051EB65B-0F12-4A36-96F2-246D0E8AB412}" dt="2022-04-25T07:52:15.788" v="4"/>
          <ac:picMkLst>
            <pc:docMk/>
            <pc:sldMk cId="3105707221" sldId="534"/>
            <ac:picMk id="9" creationId="{E9AAB563-F52B-4B78-80B5-53577F43D97D}"/>
          </ac:picMkLst>
        </pc:picChg>
        <pc:picChg chg="add del mod">
          <ac:chgData name="Heininen Antti" userId="b3f08c9e-4b6a-48e9-a186-9b2511e5fd7e" providerId="ADAL" clId="{051EB65B-0F12-4A36-96F2-246D0E8AB412}" dt="2022-04-25T07:52:26.902" v="7" actId="21"/>
          <ac:picMkLst>
            <pc:docMk/>
            <pc:sldMk cId="3105707221" sldId="534"/>
            <ac:picMk id="13" creationId="{7F907345-5B2A-4A57-8483-E150C54A3881}"/>
          </ac:picMkLst>
        </pc:picChg>
        <pc:picChg chg="add del mod">
          <ac:chgData name="Heininen Antti" userId="b3f08c9e-4b6a-48e9-a186-9b2511e5fd7e" providerId="ADAL" clId="{051EB65B-0F12-4A36-96F2-246D0E8AB412}" dt="2022-04-25T07:52:28.942" v="9"/>
          <ac:picMkLst>
            <pc:docMk/>
            <pc:sldMk cId="3105707221" sldId="534"/>
            <ac:picMk id="17" creationId="{0FB37740-1A5D-4603-9368-CBBA2814AAEF}"/>
          </ac:picMkLst>
        </pc:picChg>
      </pc:sldChg>
      <pc:sldChg chg="del">
        <pc:chgData name="Heininen Antti" userId="b3f08c9e-4b6a-48e9-a186-9b2511e5fd7e" providerId="ADAL" clId="{051EB65B-0F12-4A36-96F2-246D0E8AB412}" dt="2022-04-25T08:02:12.880" v="209" actId="47"/>
        <pc:sldMkLst>
          <pc:docMk/>
          <pc:sldMk cId="3119346316" sldId="864"/>
        </pc:sldMkLst>
      </pc:sldChg>
      <pc:sldChg chg="del">
        <pc:chgData name="Heininen Antti" userId="b3f08c9e-4b6a-48e9-a186-9b2511e5fd7e" providerId="ADAL" clId="{051EB65B-0F12-4A36-96F2-246D0E8AB412}" dt="2022-04-25T08:02:15.771" v="210" actId="47"/>
        <pc:sldMkLst>
          <pc:docMk/>
          <pc:sldMk cId="3043339728" sldId="873"/>
        </pc:sldMkLst>
      </pc:sldChg>
      <pc:sldChg chg="del">
        <pc:chgData name="Heininen Antti" userId="b3f08c9e-4b6a-48e9-a186-9b2511e5fd7e" providerId="ADAL" clId="{051EB65B-0F12-4A36-96F2-246D0E8AB412}" dt="2022-04-25T08:03:53.615" v="235" actId="47"/>
        <pc:sldMkLst>
          <pc:docMk/>
          <pc:sldMk cId="3177215837" sldId="874"/>
        </pc:sldMkLst>
      </pc:sldChg>
      <pc:sldChg chg="del">
        <pc:chgData name="Heininen Antti" userId="b3f08c9e-4b6a-48e9-a186-9b2511e5fd7e" providerId="ADAL" clId="{051EB65B-0F12-4A36-96F2-246D0E8AB412}" dt="2022-04-25T08:03:56.595" v="236" actId="47"/>
        <pc:sldMkLst>
          <pc:docMk/>
          <pc:sldMk cId="1430310630" sldId="879"/>
        </pc:sldMkLst>
      </pc:sldChg>
      <pc:sldChg chg="addSp delSp modSp new mod ord">
        <pc:chgData name="Heininen Antti" userId="b3f08c9e-4b6a-48e9-a186-9b2511e5fd7e" providerId="ADAL" clId="{051EB65B-0F12-4A36-96F2-246D0E8AB412}" dt="2022-04-25T08:10:59.900" v="261" actId="1076"/>
        <pc:sldMkLst>
          <pc:docMk/>
          <pc:sldMk cId="2431372268" sldId="899"/>
        </pc:sldMkLst>
        <pc:spChg chg="add del mod">
          <ac:chgData name="Heininen Antti" userId="b3f08c9e-4b6a-48e9-a186-9b2511e5fd7e" providerId="ADAL" clId="{051EB65B-0F12-4A36-96F2-246D0E8AB412}" dt="2022-04-25T07:54:23.302" v="15"/>
          <ac:spMkLst>
            <pc:docMk/>
            <pc:sldMk cId="2431372268" sldId="899"/>
            <ac:spMk id="5" creationId="{014B0AB7-3A5F-4DC5-AB8D-6343FF7BE046}"/>
          </ac:spMkLst>
        </pc:spChg>
        <pc:spChg chg="add del mod">
          <ac:chgData name="Heininen Antti" userId="b3f08c9e-4b6a-48e9-a186-9b2511e5fd7e" providerId="ADAL" clId="{051EB65B-0F12-4A36-96F2-246D0E8AB412}" dt="2022-04-25T07:54:23.302" v="15"/>
          <ac:spMkLst>
            <pc:docMk/>
            <pc:sldMk cId="2431372268" sldId="899"/>
            <ac:spMk id="6" creationId="{FEB4B5B6-4D1D-4E21-BE8A-61BB4C56F6B8}"/>
          </ac:spMkLst>
        </pc:spChg>
        <pc:spChg chg="add del mod">
          <ac:chgData name="Heininen Antti" userId="b3f08c9e-4b6a-48e9-a186-9b2511e5fd7e" providerId="ADAL" clId="{051EB65B-0F12-4A36-96F2-246D0E8AB412}" dt="2022-04-25T07:54:23.302" v="15"/>
          <ac:spMkLst>
            <pc:docMk/>
            <pc:sldMk cId="2431372268" sldId="899"/>
            <ac:spMk id="7" creationId="{E6568669-B9A4-43B6-AE38-169DA54C36A0}"/>
          </ac:spMkLst>
        </pc:spChg>
        <pc:spChg chg="add del mod">
          <ac:chgData name="Heininen Antti" userId="b3f08c9e-4b6a-48e9-a186-9b2511e5fd7e" providerId="ADAL" clId="{051EB65B-0F12-4A36-96F2-246D0E8AB412}" dt="2022-04-25T07:54:23.302" v="15"/>
          <ac:spMkLst>
            <pc:docMk/>
            <pc:sldMk cId="2431372268" sldId="899"/>
            <ac:spMk id="8" creationId="{8FE32676-1DF8-4DBC-B700-D6CA93EA33EB}"/>
          </ac:spMkLst>
        </pc:spChg>
        <pc:spChg chg="add del mod">
          <ac:chgData name="Heininen Antti" userId="b3f08c9e-4b6a-48e9-a186-9b2511e5fd7e" providerId="ADAL" clId="{051EB65B-0F12-4A36-96F2-246D0E8AB412}" dt="2022-04-25T07:54:23.302" v="15"/>
          <ac:spMkLst>
            <pc:docMk/>
            <pc:sldMk cId="2431372268" sldId="899"/>
            <ac:spMk id="9" creationId="{D3BBC010-8082-4C9F-9FA5-35ED4BDA5377}"/>
          </ac:spMkLst>
        </pc:spChg>
        <pc:spChg chg="add del mod">
          <ac:chgData name="Heininen Antti" userId="b3f08c9e-4b6a-48e9-a186-9b2511e5fd7e" providerId="ADAL" clId="{051EB65B-0F12-4A36-96F2-246D0E8AB412}" dt="2022-04-25T07:54:23.302" v="15"/>
          <ac:spMkLst>
            <pc:docMk/>
            <pc:sldMk cId="2431372268" sldId="899"/>
            <ac:spMk id="11" creationId="{E84B6311-B42D-4F9C-A8CA-B8352D81F64F}"/>
          </ac:spMkLst>
        </pc:spChg>
        <pc:spChg chg="add del mod">
          <ac:chgData name="Heininen Antti" userId="b3f08c9e-4b6a-48e9-a186-9b2511e5fd7e" providerId="ADAL" clId="{051EB65B-0F12-4A36-96F2-246D0E8AB412}" dt="2022-04-25T07:54:23.302" v="15"/>
          <ac:spMkLst>
            <pc:docMk/>
            <pc:sldMk cId="2431372268" sldId="899"/>
            <ac:spMk id="12" creationId="{1E1CC7B2-FE0B-4860-8AAA-100B82659191}"/>
          </ac:spMkLst>
        </pc:spChg>
        <pc:spChg chg="add del mod">
          <ac:chgData name="Heininen Antti" userId="b3f08c9e-4b6a-48e9-a186-9b2511e5fd7e" providerId="ADAL" clId="{051EB65B-0F12-4A36-96F2-246D0E8AB412}" dt="2022-04-25T07:54:23.302" v="15"/>
          <ac:spMkLst>
            <pc:docMk/>
            <pc:sldMk cId="2431372268" sldId="899"/>
            <ac:spMk id="13" creationId="{23EBA267-D48A-4B71-867A-CB1DCE1F1259}"/>
          </ac:spMkLst>
        </pc:spChg>
        <pc:spChg chg="add del mod">
          <ac:chgData name="Heininen Antti" userId="b3f08c9e-4b6a-48e9-a186-9b2511e5fd7e" providerId="ADAL" clId="{051EB65B-0F12-4A36-96F2-246D0E8AB412}" dt="2022-04-25T07:54:23.302" v="15"/>
          <ac:spMkLst>
            <pc:docMk/>
            <pc:sldMk cId="2431372268" sldId="899"/>
            <ac:spMk id="14" creationId="{016AF560-75E4-4DB7-8842-5BB0DC02687F}"/>
          </ac:spMkLst>
        </pc:spChg>
        <pc:spChg chg="add del mod">
          <ac:chgData name="Heininen Antti" userId="b3f08c9e-4b6a-48e9-a186-9b2511e5fd7e" providerId="ADAL" clId="{051EB65B-0F12-4A36-96F2-246D0E8AB412}" dt="2022-04-25T07:54:23.302" v="15"/>
          <ac:spMkLst>
            <pc:docMk/>
            <pc:sldMk cId="2431372268" sldId="899"/>
            <ac:spMk id="15" creationId="{4FB1C789-4B0A-4C88-A4CA-2E21D027578D}"/>
          </ac:spMkLst>
        </pc:spChg>
        <pc:spChg chg="add del mod">
          <ac:chgData name="Heininen Antti" userId="b3f08c9e-4b6a-48e9-a186-9b2511e5fd7e" providerId="ADAL" clId="{051EB65B-0F12-4A36-96F2-246D0E8AB412}" dt="2022-04-25T07:54:23.302" v="15"/>
          <ac:spMkLst>
            <pc:docMk/>
            <pc:sldMk cId="2431372268" sldId="899"/>
            <ac:spMk id="16" creationId="{9FD33E34-7569-48CB-888D-019EC7C7C3CD}"/>
          </ac:spMkLst>
        </pc:spChg>
        <pc:spChg chg="add del mod">
          <ac:chgData name="Heininen Antti" userId="b3f08c9e-4b6a-48e9-a186-9b2511e5fd7e" providerId="ADAL" clId="{051EB65B-0F12-4A36-96F2-246D0E8AB412}" dt="2022-04-25T07:54:23.302" v="15"/>
          <ac:spMkLst>
            <pc:docMk/>
            <pc:sldMk cId="2431372268" sldId="899"/>
            <ac:spMk id="17" creationId="{EA3D0264-EA74-4B01-B8A0-556649121741}"/>
          </ac:spMkLst>
        </pc:spChg>
        <pc:spChg chg="add del mod">
          <ac:chgData name="Heininen Antti" userId="b3f08c9e-4b6a-48e9-a186-9b2511e5fd7e" providerId="ADAL" clId="{051EB65B-0F12-4A36-96F2-246D0E8AB412}" dt="2022-04-25T07:54:23.302" v="15"/>
          <ac:spMkLst>
            <pc:docMk/>
            <pc:sldMk cId="2431372268" sldId="899"/>
            <ac:spMk id="18" creationId="{D5DB3E2C-078E-43DC-AA97-771DED13286B}"/>
          </ac:spMkLst>
        </pc:spChg>
        <pc:spChg chg="add del mod">
          <ac:chgData name="Heininen Antti" userId="b3f08c9e-4b6a-48e9-a186-9b2511e5fd7e" providerId="ADAL" clId="{051EB65B-0F12-4A36-96F2-246D0E8AB412}" dt="2022-04-25T07:54:23.302" v="15"/>
          <ac:spMkLst>
            <pc:docMk/>
            <pc:sldMk cId="2431372268" sldId="899"/>
            <ac:spMk id="19" creationId="{B1121E35-AB61-4948-A13B-6F63A4A1B39E}"/>
          </ac:spMkLst>
        </pc:spChg>
        <pc:spChg chg="add del mod">
          <ac:chgData name="Heininen Antti" userId="b3f08c9e-4b6a-48e9-a186-9b2511e5fd7e" providerId="ADAL" clId="{051EB65B-0F12-4A36-96F2-246D0E8AB412}" dt="2022-04-25T07:54:23.302" v="15"/>
          <ac:spMkLst>
            <pc:docMk/>
            <pc:sldMk cId="2431372268" sldId="899"/>
            <ac:spMk id="20" creationId="{7FBECFFD-C145-4690-A5AC-FE08BE7B8674}"/>
          </ac:spMkLst>
        </pc:spChg>
        <pc:spChg chg="add del mod">
          <ac:chgData name="Heininen Antti" userId="b3f08c9e-4b6a-48e9-a186-9b2511e5fd7e" providerId="ADAL" clId="{051EB65B-0F12-4A36-96F2-246D0E8AB412}" dt="2022-04-25T07:54:23.302" v="15"/>
          <ac:spMkLst>
            <pc:docMk/>
            <pc:sldMk cId="2431372268" sldId="899"/>
            <ac:spMk id="21" creationId="{BC6F1DEB-7FEA-4FBB-8D92-1789079D88A1}"/>
          </ac:spMkLst>
        </pc:spChg>
        <pc:spChg chg="add del mod">
          <ac:chgData name="Heininen Antti" userId="b3f08c9e-4b6a-48e9-a186-9b2511e5fd7e" providerId="ADAL" clId="{051EB65B-0F12-4A36-96F2-246D0E8AB412}" dt="2022-04-25T07:54:23.302" v="15"/>
          <ac:spMkLst>
            <pc:docMk/>
            <pc:sldMk cId="2431372268" sldId="899"/>
            <ac:spMk id="22" creationId="{E5EF3D8D-EDBF-428B-B535-9E26EADB9465}"/>
          </ac:spMkLst>
        </pc:spChg>
        <pc:spChg chg="add del mod">
          <ac:chgData name="Heininen Antti" userId="b3f08c9e-4b6a-48e9-a186-9b2511e5fd7e" providerId="ADAL" clId="{051EB65B-0F12-4A36-96F2-246D0E8AB412}" dt="2022-04-25T07:54:23.302" v="15"/>
          <ac:spMkLst>
            <pc:docMk/>
            <pc:sldMk cId="2431372268" sldId="899"/>
            <ac:spMk id="23" creationId="{C5F9490D-3A2B-42A4-BDB9-737094A2D911}"/>
          </ac:spMkLst>
        </pc:spChg>
        <pc:spChg chg="add del mod">
          <ac:chgData name="Heininen Antti" userId="b3f08c9e-4b6a-48e9-a186-9b2511e5fd7e" providerId="ADAL" clId="{051EB65B-0F12-4A36-96F2-246D0E8AB412}" dt="2022-04-25T07:54:23.302" v="15"/>
          <ac:spMkLst>
            <pc:docMk/>
            <pc:sldMk cId="2431372268" sldId="899"/>
            <ac:spMk id="24" creationId="{B6B86B8A-7FC6-4A62-9C60-9D42787E44B2}"/>
          </ac:spMkLst>
        </pc:spChg>
        <pc:spChg chg="add del mod">
          <ac:chgData name="Heininen Antti" userId="b3f08c9e-4b6a-48e9-a186-9b2511e5fd7e" providerId="ADAL" clId="{051EB65B-0F12-4A36-96F2-246D0E8AB412}" dt="2022-04-25T07:54:23.302" v="15"/>
          <ac:spMkLst>
            <pc:docMk/>
            <pc:sldMk cId="2431372268" sldId="899"/>
            <ac:spMk id="29" creationId="{B1346104-7EAB-4511-89EE-6CDD99981B61}"/>
          </ac:spMkLst>
        </pc:spChg>
        <pc:spChg chg="add del mod">
          <ac:chgData name="Heininen Antti" userId="b3f08c9e-4b6a-48e9-a186-9b2511e5fd7e" providerId="ADAL" clId="{051EB65B-0F12-4A36-96F2-246D0E8AB412}" dt="2022-04-25T07:54:23.302" v="15"/>
          <ac:spMkLst>
            <pc:docMk/>
            <pc:sldMk cId="2431372268" sldId="899"/>
            <ac:spMk id="30" creationId="{EC34701C-3F0C-455D-B682-B81202F5F600}"/>
          </ac:spMkLst>
        </pc:spChg>
        <pc:spChg chg="add del mod">
          <ac:chgData name="Heininen Antti" userId="b3f08c9e-4b6a-48e9-a186-9b2511e5fd7e" providerId="ADAL" clId="{051EB65B-0F12-4A36-96F2-246D0E8AB412}" dt="2022-04-25T07:54:23.302" v="15"/>
          <ac:spMkLst>
            <pc:docMk/>
            <pc:sldMk cId="2431372268" sldId="899"/>
            <ac:spMk id="31" creationId="{5FE6010A-D5C9-4644-826B-35D67FD4A3A6}"/>
          </ac:spMkLst>
        </pc:spChg>
        <pc:spChg chg="add del mod">
          <ac:chgData name="Heininen Antti" userId="b3f08c9e-4b6a-48e9-a186-9b2511e5fd7e" providerId="ADAL" clId="{051EB65B-0F12-4A36-96F2-246D0E8AB412}" dt="2022-04-25T07:54:23.302" v="15"/>
          <ac:spMkLst>
            <pc:docMk/>
            <pc:sldMk cId="2431372268" sldId="899"/>
            <ac:spMk id="32" creationId="{E233B7A3-AD60-48D7-B073-7CA4E45F4FC0}"/>
          </ac:spMkLst>
        </pc:spChg>
        <pc:spChg chg="add del mod">
          <ac:chgData name="Heininen Antti" userId="b3f08c9e-4b6a-48e9-a186-9b2511e5fd7e" providerId="ADAL" clId="{051EB65B-0F12-4A36-96F2-246D0E8AB412}" dt="2022-04-25T07:54:23.302" v="15"/>
          <ac:spMkLst>
            <pc:docMk/>
            <pc:sldMk cId="2431372268" sldId="899"/>
            <ac:spMk id="35" creationId="{D3338C5F-682D-42E2-8269-D0600D1C2208}"/>
          </ac:spMkLst>
        </pc:spChg>
        <pc:spChg chg="add del mod">
          <ac:chgData name="Heininen Antti" userId="b3f08c9e-4b6a-48e9-a186-9b2511e5fd7e" providerId="ADAL" clId="{051EB65B-0F12-4A36-96F2-246D0E8AB412}" dt="2022-04-25T07:54:23.302" v="15"/>
          <ac:spMkLst>
            <pc:docMk/>
            <pc:sldMk cId="2431372268" sldId="899"/>
            <ac:spMk id="36" creationId="{7128D94F-5E0E-4D92-A601-C0C9B27734E5}"/>
          </ac:spMkLst>
        </pc:spChg>
        <pc:spChg chg="add del mod">
          <ac:chgData name="Heininen Antti" userId="b3f08c9e-4b6a-48e9-a186-9b2511e5fd7e" providerId="ADAL" clId="{051EB65B-0F12-4A36-96F2-246D0E8AB412}" dt="2022-04-25T07:54:23.302" v="15"/>
          <ac:spMkLst>
            <pc:docMk/>
            <pc:sldMk cId="2431372268" sldId="899"/>
            <ac:spMk id="41" creationId="{6409F7CF-6AD8-47CF-AC78-96F6F4D9D482}"/>
          </ac:spMkLst>
        </pc:spChg>
        <pc:spChg chg="add del mod">
          <ac:chgData name="Heininen Antti" userId="b3f08c9e-4b6a-48e9-a186-9b2511e5fd7e" providerId="ADAL" clId="{051EB65B-0F12-4A36-96F2-246D0E8AB412}" dt="2022-04-25T07:54:23.302" v="15"/>
          <ac:spMkLst>
            <pc:docMk/>
            <pc:sldMk cId="2431372268" sldId="899"/>
            <ac:spMk id="42" creationId="{93B7C7EE-61F1-4043-8002-14E6459B545D}"/>
          </ac:spMkLst>
        </pc:spChg>
        <pc:spChg chg="add del mod">
          <ac:chgData name="Heininen Antti" userId="b3f08c9e-4b6a-48e9-a186-9b2511e5fd7e" providerId="ADAL" clId="{051EB65B-0F12-4A36-96F2-246D0E8AB412}" dt="2022-04-25T07:54:23.302" v="15"/>
          <ac:spMkLst>
            <pc:docMk/>
            <pc:sldMk cId="2431372268" sldId="899"/>
            <ac:spMk id="43" creationId="{09BB4247-2B3B-4F5D-8714-B778939665E3}"/>
          </ac:spMkLst>
        </pc:spChg>
        <pc:spChg chg="add del mod">
          <ac:chgData name="Heininen Antti" userId="b3f08c9e-4b6a-48e9-a186-9b2511e5fd7e" providerId="ADAL" clId="{051EB65B-0F12-4A36-96F2-246D0E8AB412}" dt="2022-04-25T07:54:23.302" v="15"/>
          <ac:spMkLst>
            <pc:docMk/>
            <pc:sldMk cId="2431372268" sldId="899"/>
            <ac:spMk id="44" creationId="{0D54EEA2-F52F-48A6-9406-796C38A6E626}"/>
          </ac:spMkLst>
        </pc:spChg>
        <pc:spChg chg="add del mod">
          <ac:chgData name="Heininen Antti" userId="b3f08c9e-4b6a-48e9-a186-9b2511e5fd7e" providerId="ADAL" clId="{051EB65B-0F12-4A36-96F2-246D0E8AB412}" dt="2022-04-25T07:54:23.302" v="15"/>
          <ac:spMkLst>
            <pc:docMk/>
            <pc:sldMk cId="2431372268" sldId="899"/>
            <ac:spMk id="45" creationId="{6438F264-E856-4011-ADF7-A3579DA08C54}"/>
          </ac:spMkLst>
        </pc:spChg>
        <pc:spChg chg="add del mod">
          <ac:chgData name="Heininen Antti" userId="b3f08c9e-4b6a-48e9-a186-9b2511e5fd7e" providerId="ADAL" clId="{051EB65B-0F12-4A36-96F2-246D0E8AB412}" dt="2022-04-25T07:54:23.302" v="15"/>
          <ac:spMkLst>
            <pc:docMk/>
            <pc:sldMk cId="2431372268" sldId="899"/>
            <ac:spMk id="46" creationId="{29984EEB-FD04-4BEC-A04E-93F9CD49850D}"/>
          </ac:spMkLst>
        </pc:spChg>
        <pc:spChg chg="add del mod">
          <ac:chgData name="Heininen Antti" userId="b3f08c9e-4b6a-48e9-a186-9b2511e5fd7e" providerId="ADAL" clId="{051EB65B-0F12-4A36-96F2-246D0E8AB412}" dt="2022-04-25T07:54:23.302" v="15"/>
          <ac:spMkLst>
            <pc:docMk/>
            <pc:sldMk cId="2431372268" sldId="899"/>
            <ac:spMk id="47" creationId="{54F32129-7E92-4D1C-9401-0215B1CF2784}"/>
          </ac:spMkLst>
        </pc:spChg>
        <pc:spChg chg="add del mod">
          <ac:chgData name="Heininen Antti" userId="b3f08c9e-4b6a-48e9-a186-9b2511e5fd7e" providerId="ADAL" clId="{051EB65B-0F12-4A36-96F2-246D0E8AB412}" dt="2022-04-25T07:54:23.302" v="15"/>
          <ac:spMkLst>
            <pc:docMk/>
            <pc:sldMk cId="2431372268" sldId="899"/>
            <ac:spMk id="48" creationId="{7F17C11E-E826-4A4E-B5E5-53B8B84D4C9C}"/>
          </ac:spMkLst>
        </pc:spChg>
        <pc:spChg chg="add del mod">
          <ac:chgData name="Heininen Antti" userId="b3f08c9e-4b6a-48e9-a186-9b2511e5fd7e" providerId="ADAL" clId="{051EB65B-0F12-4A36-96F2-246D0E8AB412}" dt="2022-04-25T07:54:23.302" v="15"/>
          <ac:spMkLst>
            <pc:docMk/>
            <pc:sldMk cId="2431372268" sldId="899"/>
            <ac:spMk id="50" creationId="{31A27981-90AC-4D1E-A46C-106132B910AB}"/>
          </ac:spMkLst>
        </pc:spChg>
        <pc:spChg chg="add del mod">
          <ac:chgData name="Heininen Antti" userId="b3f08c9e-4b6a-48e9-a186-9b2511e5fd7e" providerId="ADAL" clId="{051EB65B-0F12-4A36-96F2-246D0E8AB412}" dt="2022-04-25T07:54:39.021" v="19"/>
          <ac:spMkLst>
            <pc:docMk/>
            <pc:sldMk cId="2431372268" sldId="899"/>
            <ac:spMk id="55" creationId="{6A970B6E-5B51-4719-B00A-C8F0EA07B1AB}"/>
          </ac:spMkLst>
        </pc:spChg>
        <pc:spChg chg="add del mod">
          <ac:chgData name="Heininen Antti" userId="b3f08c9e-4b6a-48e9-a186-9b2511e5fd7e" providerId="ADAL" clId="{051EB65B-0F12-4A36-96F2-246D0E8AB412}" dt="2022-04-25T07:54:39.021" v="19"/>
          <ac:spMkLst>
            <pc:docMk/>
            <pc:sldMk cId="2431372268" sldId="899"/>
            <ac:spMk id="56" creationId="{33F4ED17-4E69-4573-83BC-15FF825B3E00}"/>
          </ac:spMkLst>
        </pc:spChg>
        <pc:spChg chg="add del mod">
          <ac:chgData name="Heininen Antti" userId="b3f08c9e-4b6a-48e9-a186-9b2511e5fd7e" providerId="ADAL" clId="{051EB65B-0F12-4A36-96F2-246D0E8AB412}" dt="2022-04-25T07:54:39.021" v="19"/>
          <ac:spMkLst>
            <pc:docMk/>
            <pc:sldMk cId="2431372268" sldId="899"/>
            <ac:spMk id="57" creationId="{09CAA577-8CCC-4AA9-BD3E-B079DCBA113D}"/>
          </ac:spMkLst>
        </pc:spChg>
        <pc:spChg chg="add del mod">
          <ac:chgData name="Heininen Antti" userId="b3f08c9e-4b6a-48e9-a186-9b2511e5fd7e" providerId="ADAL" clId="{051EB65B-0F12-4A36-96F2-246D0E8AB412}" dt="2022-04-25T07:54:39.021" v="19"/>
          <ac:spMkLst>
            <pc:docMk/>
            <pc:sldMk cId="2431372268" sldId="899"/>
            <ac:spMk id="58" creationId="{6D7E46D3-13F8-48CA-9F51-B336BD7BB9CB}"/>
          </ac:spMkLst>
        </pc:spChg>
        <pc:spChg chg="add del mod">
          <ac:chgData name="Heininen Antti" userId="b3f08c9e-4b6a-48e9-a186-9b2511e5fd7e" providerId="ADAL" clId="{051EB65B-0F12-4A36-96F2-246D0E8AB412}" dt="2022-04-25T07:54:39.021" v="19"/>
          <ac:spMkLst>
            <pc:docMk/>
            <pc:sldMk cId="2431372268" sldId="899"/>
            <ac:spMk id="60" creationId="{340EB99C-C693-49B2-BA43-A4C81C962063}"/>
          </ac:spMkLst>
        </pc:spChg>
        <pc:spChg chg="add del mod">
          <ac:chgData name="Heininen Antti" userId="b3f08c9e-4b6a-48e9-a186-9b2511e5fd7e" providerId="ADAL" clId="{051EB65B-0F12-4A36-96F2-246D0E8AB412}" dt="2022-04-25T07:54:39.021" v="19"/>
          <ac:spMkLst>
            <pc:docMk/>
            <pc:sldMk cId="2431372268" sldId="899"/>
            <ac:spMk id="61" creationId="{60EC6CEA-472D-4EDC-B28A-58EBAFBFEC8C}"/>
          </ac:spMkLst>
        </pc:spChg>
        <pc:spChg chg="add del mod">
          <ac:chgData name="Heininen Antti" userId="b3f08c9e-4b6a-48e9-a186-9b2511e5fd7e" providerId="ADAL" clId="{051EB65B-0F12-4A36-96F2-246D0E8AB412}" dt="2022-04-25T07:54:39.021" v="19"/>
          <ac:spMkLst>
            <pc:docMk/>
            <pc:sldMk cId="2431372268" sldId="899"/>
            <ac:spMk id="62" creationId="{591225E7-7D89-4517-90BF-677E0E395240}"/>
          </ac:spMkLst>
        </pc:spChg>
        <pc:spChg chg="add del mod">
          <ac:chgData name="Heininen Antti" userId="b3f08c9e-4b6a-48e9-a186-9b2511e5fd7e" providerId="ADAL" clId="{051EB65B-0F12-4A36-96F2-246D0E8AB412}" dt="2022-04-25T07:54:39.021" v="19"/>
          <ac:spMkLst>
            <pc:docMk/>
            <pc:sldMk cId="2431372268" sldId="899"/>
            <ac:spMk id="63" creationId="{68860C73-5AF0-4375-94EB-BEDFDDB8560C}"/>
          </ac:spMkLst>
        </pc:spChg>
        <pc:spChg chg="add del mod">
          <ac:chgData name="Heininen Antti" userId="b3f08c9e-4b6a-48e9-a186-9b2511e5fd7e" providerId="ADAL" clId="{051EB65B-0F12-4A36-96F2-246D0E8AB412}" dt="2022-04-25T07:54:39.021" v="19"/>
          <ac:spMkLst>
            <pc:docMk/>
            <pc:sldMk cId="2431372268" sldId="899"/>
            <ac:spMk id="64" creationId="{9F1AE659-1205-4321-B67F-6B1E93C1FA74}"/>
          </ac:spMkLst>
        </pc:spChg>
        <pc:spChg chg="add del mod">
          <ac:chgData name="Heininen Antti" userId="b3f08c9e-4b6a-48e9-a186-9b2511e5fd7e" providerId="ADAL" clId="{051EB65B-0F12-4A36-96F2-246D0E8AB412}" dt="2022-04-25T07:54:39.021" v="19"/>
          <ac:spMkLst>
            <pc:docMk/>
            <pc:sldMk cId="2431372268" sldId="899"/>
            <ac:spMk id="65" creationId="{9C2857F9-265D-413D-92BE-1C327A957FBC}"/>
          </ac:spMkLst>
        </pc:spChg>
        <pc:spChg chg="add del mod">
          <ac:chgData name="Heininen Antti" userId="b3f08c9e-4b6a-48e9-a186-9b2511e5fd7e" providerId="ADAL" clId="{051EB65B-0F12-4A36-96F2-246D0E8AB412}" dt="2022-04-25T07:54:39.021" v="19"/>
          <ac:spMkLst>
            <pc:docMk/>
            <pc:sldMk cId="2431372268" sldId="899"/>
            <ac:spMk id="66" creationId="{21BBB948-2E49-474C-9B44-D030D0BF0F28}"/>
          </ac:spMkLst>
        </pc:spChg>
        <pc:spChg chg="add del mod">
          <ac:chgData name="Heininen Antti" userId="b3f08c9e-4b6a-48e9-a186-9b2511e5fd7e" providerId="ADAL" clId="{051EB65B-0F12-4A36-96F2-246D0E8AB412}" dt="2022-04-25T07:54:39.021" v="19"/>
          <ac:spMkLst>
            <pc:docMk/>
            <pc:sldMk cId="2431372268" sldId="899"/>
            <ac:spMk id="67" creationId="{DB86B8B9-1625-4722-9817-F259A826243B}"/>
          </ac:spMkLst>
        </pc:spChg>
        <pc:spChg chg="add del mod">
          <ac:chgData name="Heininen Antti" userId="b3f08c9e-4b6a-48e9-a186-9b2511e5fd7e" providerId="ADAL" clId="{051EB65B-0F12-4A36-96F2-246D0E8AB412}" dt="2022-04-25T07:54:39.021" v="19"/>
          <ac:spMkLst>
            <pc:docMk/>
            <pc:sldMk cId="2431372268" sldId="899"/>
            <ac:spMk id="68" creationId="{14FA088E-480C-4B4A-AE6B-766DEFE1A27C}"/>
          </ac:spMkLst>
        </pc:spChg>
        <pc:spChg chg="add del mod">
          <ac:chgData name="Heininen Antti" userId="b3f08c9e-4b6a-48e9-a186-9b2511e5fd7e" providerId="ADAL" clId="{051EB65B-0F12-4A36-96F2-246D0E8AB412}" dt="2022-04-25T07:54:39.021" v="19"/>
          <ac:spMkLst>
            <pc:docMk/>
            <pc:sldMk cId="2431372268" sldId="899"/>
            <ac:spMk id="69" creationId="{90CD4B8B-C84C-40A8-B693-7A754B3E77CE}"/>
          </ac:spMkLst>
        </pc:spChg>
        <pc:spChg chg="add del mod">
          <ac:chgData name="Heininen Antti" userId="b3f08c9e-4b6a-48e9-a186-9b2511e5fd7e" providerId="ADAL" clId="{051EB65B-0F12-4A36-96F2-246D0E8AB412}" dt="2022-04-25T07:54:39.021" v="19"/>
          <ac:spMkLst>
            <pc:docMk/>
            <pc:sldMk cId="2431372268" sldId="899"/>
            <ac:spMk id="74" creationId="{D9EDF0A2-53DC-4595-BFE8-540054AE00A1}"/>
          </ac:spMkLst>
        </pc:spChg>
        <pc:spChg chg="add del mod">
          <ac:chgData name="Heininen Antti" userId="b3f08c9e-4b6a-48e9-a186-9b2511e5fd7e" providerId="ADAL" clId="{051EB65B-0F12-4A36-96F2-246D0E8AB412}" dt="2022-04-25T07:54:39.021" v="19"/>
          <ac:spMkLst>
            <pc:docMk/>
            <pc:sldMk cId="2431372268" sldId="899"/>
            <ac:spMk id="75" creationId="{A79991F1-AB9A-442D-99A4-C950CB7D82F2}"/>
          </ac:spMkLst>
        </pc:spChg>
        <pc:spChg chg="add del mod">
          <ac:chgData name="Heininen Antti" userId="b3f08c9e-4b6a-48e9-a186-9b2511e5fd7e" providerId="ADAL" clId="{051EB65B-0F12-4A36-96F2-246D0E8AB412}" dt="2022-04-25T07:54:39.021" v="19"/>
          <ac:spMkLst>
            <pc:docMk/>
            <pc:sldMk cId="2431372268" sldId="899"/>
            <ac:spMk id="76" creationId="{38BE256D-D2E2-4C8D-B133-CF88FBBBB075}"/>
          </ac:spMkLst>
        </pc:spChg>
        <pc:spChg chg="add del mod">
          <ac:chgData name="Heininen Antti" userId="b3f08c9e-4b6a-48e9-a186-9b2511e5fd7e" providerId="ADAL" clId="{051EB65B-0F12-4A36-96F2-246D0E8AB412}" dt="2022-04-25T07:54:39.021" v="19"/>
          <ac:spMkLst>
            <pc:docMk/>
            <pc:sldMk cId="2431372268" sldId="899"/>
            <ac:spMk id="79" creationId="{2D7156A6-2CD3-4A87-BE37-4481C3A2A61F}"/>
          </ac:spMkLst>
        </pc:spChg>
        <pc:spChg chg="add del mod">
          <ac:chgData name="Heininen Antti" userId="b3f08c9e-4b6a-48e9-a186-9b2511e5fd7e" providerId="ADAL" clId="{051EB65B-0F12-4A36-96F2-246D0E8AB412}" dt="2022-04-25T07:54:39.021" v="19"/>
          <ac:spMkLst>
            <pc:docMk/>
            <pc:sldMk cId="2431372268" sldId="899"/>
            <ac:spMk id="84" creationId="{151D0D1B-71AB-43EC-85B0-26FB7C5671F7}"/>
          </ac:spMkLst>
        </pc:spChg>
        <pc:spChg chg="add del mod">
          <ac:chgData name="Heininen Antti" userId="b3f08c9e-4b6a-48e9-a186-9b2511e5fd7e" providerId="ADAL" clId="{051EB65B-0F12-4A36-96F2-246D0E8AB412}" dt="2022-04-25T07:54:39.021" v="19"/>
          <ac:spMkLst>
            <pc:docMk/>
            <pc:sldMk cId="2431372268" sldId="899"/>
            <ac:spMk id="85" creationId="{7D5F99FB-21C2-4AB8-8BC7-39B6DCEE7F72}"/>
          </ac:spMkLst>
        </pc:spChg>
        <pc:spChg chg="add del mod">
          <ac:chgData name="Heininen Antti" userId="b3f08c9e-4b6a-48e9-a186-9b2511e5fd7e" providerId="ADAL" clId="{051EB65B-0F12-4A36-96F2-246D0E8AB412}" dt="2022-04-25T07:54:39.021" v="19"/>
          <ac:spMkLst>
            <pc:docMk/>
            <pc:sldMk cId="2431372268" sldId="899"/>
            <ac:spMk id="86" creationId="{85FB7D38-066F-4079-82C6-4ADF5160AB8B}"/>
          </ac:spMkLst>
        </pc:spChg>
        <pc:spChg chg="add del mod">
          <ac:chgData name="Heininen Antti" userId="b3f08c9e-4b6a-48e9-a186-9b2511e5fd7e" providerId="ADAL" clId="{051EB65B-0F12-4A36-96F2-246D0E8AB412}" dt="2022-04-25T07:54:39.021" v="19"/>
          <ac:spMkLst>
            <pc:docMk/>
            <pc:sldMk cId="2431372268" sldId="899"/>
            <ac:spMk id="87" creationId="{E2C9A914-D1A4-45DB-A5C3-A47BC77FFEDB}"/>
          </ac:spMkLst>
        </pc:spChg>
        <pc:spChg chg="add del mod">
          <ac:chgData name="Heininen Antti" userId="b3f08c9e-4b6a-48e9-a186-9b2511e5fd7e" providerId="ADAL" clId="{051EB65B-0F12-4A36-96F2-246D0E8AB412}" dt="2022-04-25T07:54:39.021" v="19"/>
          <ac:spMkLst>
            <pc:docMk/>
            <pc:sldMk cId="2431372268" sldId="899"/>
            <ac:spMk id="88" creationId="{3C45EC3B-7975-4FA0-A658-E89143F69DDB}"/>
          </ac:spMkLst>
        </pc:spChg>
        <pc:spChg chg="add del mod">
          <ac:chgData name="Heininen Antti" userId="b3f08c9e-4b6a-48e9-a186-9b2511e5fd7e" providerId="ADAL" clId="{051EB65B-0F12-4A36-96F2-246D0E8AB412}" dt="2022-04-25T07:54:39.021" v="19"/>
          <ac:spMkLst>
            <pc:docMk/>
            <pc:sldMk cId="2431372268" sldId="899"/>
            <ac:spMk id="89" creationId="{E98A6051-69A5-4D7B-A6DB-2A4478A590B2}"/>
          </ac:spMkLst>
        </pc:spChg>
        <pc:spChg chg="add del mod">
          <ac:chgData name="Heininen Antti" userId="b3f08c9e-4b6a-48e9-a186-9b2511e5fd7e" providerId="ADAL" clId="{051EB65B-0F12-4A36-96F2-246D0E8AB412}" dt="2022-04-25T07:54:39.021" v="19"/>
          <ac:spMkLst>
            <pc:docMk/>
            <pc:sldMk cId="2431372268" sldId="899"/>
            <ac:spMk id="90" creationId="{BC76D549-1BDB-4632-88B4-B75F0A0C33EC}"/>
          </ac:spMkLst>
        </pc:spChg>
        <pc:spChg chg="add del mod">
          <ac:chgData name="Heininen Antti" userId="b3f08c9e-4b6a-48e9-a186-9b2511e5fd7e" providerId="ADAL" clId="{051EB65B-0F12-4A36-96F2-246D0E8AB412}" dt="2022-04-25T07:54:39.021" v="19"/>
          <ac:spMkLst>
            <pc:docMk/>
            <pc:sldMk cId="2431372268" sldId="899"/>
            <ac:spMk id="91" creationId="{8B6BCA19-8295-4F68-8803-A9288FD183C5}"/>
          </ac:spMkLst>
        </pc:spChg>
        <pc:spChg chg="add del mod">
          <ac:chgData name="Heininen Antti" userId="b3f08c9e-4b6a-48e9-a186-9b2511e5fd7e" providerId="ADAL" clId="{051EB65B-0F12-4A36-96F2-246D0E8AB412}" dt="2022-04-25T07:54:39.021" v="19"/>
          <ac:spMkLst>
            <pc:docMk/>
            <pc:sldMk cId="2431372268" sldId="899"/>
            <ac:spMk id="92" creationId="{1AA0290D-A057-4AB7-BA7E-AD786D91515B}"/>
          </ac:spMkLst>
        </pc:spChg>
        <pc:spChg chg="add del mod">
          <ac:chgData name="Heininen Antti" userId="b3f08c9e-4b6a-48e9-a186-9b2511e5fd7e" providerId="ADAL" clId="{051EB65B-0F12-4A36-96F2-246D0E8AB412}" dt="2022-04-25T07:54:39.021" v="19"/>
          <ac:spMkLst>
            <pc:docMk/>
            <pc:sldMk cId="2431372268" sldId="899"/>
            <ac:spMk id="93" creationId="{0BCFFD56-7C0D-4AA6-A986-F45315B21BA1}"/>
          </ac:spMkLst>
        </pc:spChg>
        <pc:spChg chg="add del mod">
          <ac:chgData name="Heininen Antti" userId="b3f08c9e-4b6a-48e9-a186-9b2511e5fd7e" providerId="ADAL" clId="{051EB65B-0F12-4A36-96F2-246D0E8AB412}" dt="2022-04-25T07:54:39.021" v="19"/>
          <ac:spMkLst>
            <pc:docMk/>
            <pc:sldMk cId="2431372268" sldId="899"/>
            <ac:spMk id="94" creationId="{9C558FFC-69FF-4C89-AD31-0EDF8C6D66BD}"/>
          </ac:spMkLst>
        </pc:spChg>
        <pc:spChg chg="add del mod">
          <ac:chgData name="Heininen Antti" userId="b3f08c9e-4b6a-48e9-a186-9b2511e5fd7e" providerId="ADAL" clId="{051EB65B-0F12-4A36-96F2-246D0E8AB412}" dt="2022-04-25T07:54:39.021" v="19"/>
          <ac:spMkLst>
            <pc:docMk/>
            <pc:sldMk cId="2431372268" sldId="899"/>
            <ac:spMk id="95" creationId="{02AA862D-844D-4090-9187-5C9D84862A0D}"/>
          </ac:spMkLst>
        </pc:spChg>
        <pc:spChg chg="add del mod">
          <ac:chgData name="Heininen Antti" userId="b3f08c9e-4b6a-48e9-a186-9b2511e5fd7e" providerId="ADAL" clId="{051EB65B-0F12-4A36-96F2-246D0E8AB412}" dt="2022-04-25T07:54:39.021" v="19"/>
          <ac:spMkLst>
            <pc:docMk/>
            <pc:sldMk cId="2431372268" sldId="899"/>
            <ac:spMk id="96" creationId="{3072DC93-4D59-4B41-91E5-77A8D46392AA}"/>
          </ac:spMkLst>
        </pc:spChg>
        <pc:spChg chg="add del mod">
          <ac:chgData name="Heininen Antti" userId="b3f08c9e-4b6a-48e9-a186-9b2511e5fd7e" providerId="ADAL" clId="{051EB65B-0F12-4A36-96F2-246D0E8AB412}" dt="2022-04-25T07:54:39.021" v="19"/>
          <ac:spMkLst>
            <pc:docMk/>
            <pc:sldMk cId="2431372268" sldId="899"/>
            <ac:spMk id="97" creationId="{6C579058-BE16-4FA4-94A8-3B8422FE6170}"/>
          </ac:spMkLst>
        </pc:spChg>
        <pc:spChg chg="add del mod">
          <ac:chgData name="Heininen Antti" userId="b3f08c9e-4b6a-48e9-a186-9b2511e5fd7e" providerId="ADAL" clId="{051EB65B-0F12-4A36-96F2-246D0E8AB412}" dt="2022-04-25T07:54:39.021" v="19"/>
          <ac:spMkLst>
            <pc:docMk/>
            <pc:sldMk cId="2431372268" sldId="899"/>
            <ac:spMk id="98" creationId="{48A054B1-B531-4D33-A0B4-07EE5CC296FC}"/>
          </ac:spMkLst>
        </pc:spChg>
        <pc:spChg chg="add del mod">
          <ac:chgData name="Heininen Antti" userId="b3f08c9e-4b6a-48e9-a186-9b2511e5fd7e" providerId="ADAL" clId="{051EB65B-0F12-4A36-96F2-246D0E8AB412}" dt="2022-04-25T07:54:39.021" v="19"/>
          <ac:spMkLst>
            <pc:docMk/>
            <pc:sldMk cId="2431372268" sldId="899"/>
            <ac:spMk id="99" creationId="{2E2B1B12-9158-498E-AE4E-A100CE757005}"/>
          </ac:spMkLst>
        </pc:spChg>
        <pc:spChg chg="add del mod">
          <ac:chgData name="Heininen Antti" userId="b3f08c9e-4b6a-48e9-a186-9b2511e5fd7e" providerId="ADAL" clId="{051EB65B-0F12-4A36-96F2-246D0E8AB412}" dt="2022-04-25T07:54:39.021" v="19"/>
          <ac:spMkLst>
            <pc:docMk/>
            <pc:sldMk cId="2431372268" sldId="899"/>
            <ac:spMk id="101" creationId="{BAB3B940-66F6-4512-8DC0-98441A03BED1}"/>
          </ac:spMkLst>
        </pc:spChg>
        <pc:spChg chg="add mod">
          <ac:chgData name="Heininen Antti" userId="b3f08c9e-4b6a-48e9-a186-9b2511e5fd7e" providerId="ADAL" clId="{051EB65B-0F12-4A36-96F2-246D0E8AB412}" dt="2022-04-25T08:01:33.909" v="206" actId="14100"/>
          <ac:spMkLst>
            <pc:docMk/>
            <pc:sldMk cId="2431372268" sldId="899"/>
            <ac:spMk id="105" creationId="{70955D9F-1512-465B-A689-803C431DA778}"/>
          </ac:spMkLst>
        </pc:spChg>
        <pc:spChg chg="add mod ord">
          <ac:chgData name="Heininen Antti" userId="b3f08c9e-4b6a-48e9-a186-9b2511e5fd7e" providerId="ADAL" clId="{051EB65B-0F12-4A36-96F2-246D0E8AB412}" dt="2022-04-25T08:10:59.900" v="261" actId="1076"/>
          <ac:spMkLst>
            <pc:docMk/>
            <pc:sldMk cId="2431372268" sldId="899"/>
            <ac:spMk id="106" creationId="{DF2BDBF0-4E78-4DA7-9E38-DC0BAA3DB0A6}"/>
          </ac:spMkLst>
        </pc:spChg>
        <pc:spChg chg="add mod ord">
          <ac:chgData name="Heininen Antti" userId="b3f08c9e-4b6a-48e9-a186-9b2511e5fd7e" providerId="ADAL" clId="{051EB65B-0F12-4A36-96F2-246D0E8AB412}" dt="2022-04-25T08:10:43.107" v="258" actId="1076"/>
          <ac:spMkLst>
            <pc:docMk/>
            <pc:sldMk cId="2431372268" sldId="899"/>
            <ac:spMk id="107" creationId="{EA39AEB4-CCE6-4723-9798-9DF6D5814641}"/>
          </ac:spMkLst>
        </pc:spChg>
        <pc:spChg chg="add mod">
          <ac:chgData name="Heininen Antti" userId="b3f08c9e-4b6a-48e9-a186-9b2511e5fd7e" providerId="ADAL" clId="{051EB65B-0F12-4A36-96F2-246D0E8AB412}" dt="2022-04-25T08:10:06.605" v="250" actId="1035"/>
          <ac:spMkLst>
            <pc:docMk/>
            <pc:sldMk cId="2431372268" sldId="899"/>
            <ac:spMk id="108" creationId="{88B52E4A-2C2D-4EF8-A8BB-F685C99081C2}"/>
          </ac:spMkLst>
        </pc:spChg>
        <pc:spChg chg="add mod">
          <ac:chgData name="Heininen Antti" userId="b3f08c9e-4b6a-48e9-a186-9b2511e5fd7e" providerId="ADAL" clId="{051EB65B-0F12-4A36-96F2-246D0E8AB412}" dt="2022-04-25T08:10:26.087" v="255" actId="1035"/>
          <ac:spMkLst>
            <pc:docMk/>
            <pc:sldMk cId="2431372268" sldId="899"/>
            <ac:spMk id="109" creationId="{E9DE46E5-6A42-421D-B261-DF09D1F65EBF}"/>
          </ac:spMkLst>
        </pc:spChg>
        <pc:graphicFrameChg chg="add del mod">
          <ac:chgData name="Heininen Antti" userId="b3f08c9e-4b6a-48e9-a186-9b2511e5fd7e" providerId="ADAL" clId="{051EB65B-0F12-4A36-96F2-246D0E8AB412}" dt="2022-04-25T07:54:23.302" v="15"/>
          <ac:graphicFrameMkLst>
            <pc:docMk/>
            <pc:sldMk cId="2431372268" sldId="899"/>
            <ac:graphicFrameMk id="49" creationId="{4B16E710-3170-432C-9144-EB77349C5E1C}"/>
          </ac:graphicFrameMkLst>
        </pc:graphicFrameChg>
        <pc:graphicFrameChg chg="add del mod">
          <ac:chgData name="Heininen Antti" userId="b3f08c9e-4b6a-48e9-a186-9b2511e5fd7e" providerId="ADAL" clId="{051EB65B-0F12-4A36-96F2-246D0E8AB412}" dt="2022-04-25T07:54:39.021" v="19"/>
          <ac:graphicFrameMkLst>
            <pc:docMk/>
            <pc:sldMk cId="2431372268" sldId="899"/>
            <ac:graphicFrameMk id="100" creationId="{9A0B1570-10F2-40E7-9C88-789576FB662C}"/>
          </ac:graphicFrameMkLst>
        </pc:graphicFrameChg>
        <pc:picChg chg="add del mod">
          <ac:chgData name="Heininen Antti" userId="b3f08c9e-4b6a-48e9-a186-9b2511e5fd7e" providerId="ADAL" clId="{051EB65B-0F12-4A36-96F2-246D0E8AB412}" dt="2022-04-25T07:54:23.302" v="15"/>
          <ac:picMkLst>
            <pc:docMk/>
            <pc:sldMk cId="2431372268" sldId="899"/>
            <ac:picMk id="4" creationId="{345BCAE9-D505-4E4F-B5EC-A84D722389C7}"/>
          </ac:picMkLst>
        </pc:picChg>
        <pc:picChg chg="add del mod">
          <ac:chgData name="Heininen Antti" userId="b3f08c9e-4b6a-48e9-a186-9b2511e5fd7e" providerId="ADAL" clId="{051EB65B-0F12-4A36-96F2-246D0E8AB412}" dt="2022-04-25T07:54:23.302" v="15"/>
          <ac:picMkLst>
            <pc:docMk/>
            <pc:sldMk cId="2431372268" sldId="899"/>
            <ac:picMk id="26" creationId="{5D158130-CA8A-4FF9-A1F7-47BD742549C0}"/>
          </ac:picMkLst>
        </pc:picChg>
        <pc:picChg chg="add del mod">
          <ac:chgData name="Heininen Antti" userId="b3f08c9e-4b6a-48e9-a186-9b2511e5fd7e" providerId="ADAL" clId="{051EB65B-0F12-4A36-96F2-246D0E8AB412}" dt="2022-04-25T07:54:23.302" v="15"/>
          <ac:picMkLst>
            <pc:docMk/>
            <pc:sldMk cId="2431372268" sldId="899"/>
            <ac:picMk id="28" creationId="{BC126547-8888-4911-8C99-851FEF8A52E2}"/>
          </ac:picMkLst>
        </pc:picChg>
        <pc:picChg chg="add del mod">
          <ac:chgData name="Heininen Antti" userId="b3f08c9e-4b6a-48e9-a186-9b2511e5fd7e" providerId="ADAL" clId="{051EB65B-0F12-4A36-96F2-246D0E8AB412}" dt="2022-04-25T07:54:23.302" v="15"/>
          <ac:picMkLst>
            <pc:docMk/>
            <pc:sldMk cId="2431372268" sldId="899"/>
            <ac:picMk id="38" creationId="{5429D7EE-E3B4-4EF8-84E5-8D7F6AE0517A}"/>
          </ac:picMkLst>
        </pc:picChg>
        <pc:picChg chg="add del mod">
          <ac:chgData name="Heininen Antti" userId="b3f08c9e-4b6a-48e9-a186-9b2511e5fd7e" providerId="ADAL" clId="{051EB65B-0F12-4A36-96F2-246D0E8AB412}" dt="2022-04-25T07:54:23.302" v="15"/>
          <ac:picMkLst>
            <pc:docMk/>
            <pc:sldMk cId="2431372268" sldId="899"/>
            <ac:picMk id="40" creationId="{ABACCC02-5D74-4ED6-AB47-58A826941066}"/>
          </ac:picMkLst>
        </pc:picChg>
        <pc:picChg chg="add mod">
          <ac:chgData name="Heininen Antti" userId="b3f08c9e-4b6a-48e9-a186-9b2511e5fd7e" providerId="ADAL" clId="{051EB65B-0F12-4A36-96F2-246D0E8AB412}" dt="2022-04-25T08:01:28.781" v="204" actId="208"/>
          <ac:picMkLst>
            <pc:docMk/>
            <pc:sldMk cId="2431372268" sldId="899"/>
            <ac:picMk id="53" creationId="{5BEA0FE9-116F-42AE-8B03-0EE276462700}"/>
          </ac:picMkLst>
        </pc:picChg>
        <pc:picChg chg="add del mod">
          <ac:chgData name="Heininen Antti" userId="b3f08c9e-4b6a-48e9-a186-9b2511e5fd7e" providerId="ADAL" clId="{051EB65B-0F12-4A36-96F2-246D0E8AB412}" dt="2022-04-25T07:54:39.021" v="19"/>
          <ac:picMkLst>
            <pc:docMk/>
            <pc:sldMk cId="2431372268" sldId="899"/>
            <ac:picMk id="54" creationId="{1EEFF1E1-E4E1-4AEB-8B0C-2F99F9CFBDB4}"/>
          </ac:picMkLst>
        </pc:picChg>
        <pc:picChg chg="add del mod">
          <ac:chgData name="Heininen Antti" userId="b3f08c9e-4b6a-48e9-a186-9b2511e5fd7e" providerId="ADAL" clId="{051EB65B-0F12-4A36-96F2-246D0E8AB412}" dt="2022-04-25T07:54:39.021" v="19"/>
          <ac:picMkLst>
            <pc:docMk/>
            <pc:sldMk cId="2431372268" sldId="899"/>
            <ac:picMk id="71" creationId="{ADCA2EE5-3ED7-416F-BBF3-8DD9BFDA0C26}"/>
          </ac:picMkLst>
        </pc:picChg>
        <pc:picChg chg="add del mod">
          <ac:chgData name="Heininen Antti" userId="b3f08c9e-4b6a-48e9-a186-9b2511e5fd7e" providerId="ADAL" clId="{051EB65B-0F12-4A36-96F2-246D0E8AB412}" dt="2022-04-25T07:54:39.021" v="19"/>
          <ac:picMkLst>
            <pc:docMk/>
            <pc:sldMk cId="2431372268" sldId="899"/>
            <ac:picMk id="73" creationId="{CB680FFC-E372-4285-A77C-35C07103F845}"/>
          </ac:picMkLst>
        </pc:picChg>
        <pc:picChg chg="add del mod">
          <ac:chgData name="Heininen Antti" userId="b3f08c9e-4b6a-48e9-a186-9b2511e5fd7e" providerId="ADAL" clId="{051EB65B-0F12-4A36-96F2-246D0E8AB412}" dt="2022-04-25T07:54:39.021" v="19"/>
          <ac:picMkLst>
            <pc:docMk/>
            <pc:sldMk cId="2431372268" sldId="899"/>
            <ac:picMk id="81" creationId="{3E0E46B1-9D7C-43EE-8CC8-FD6D41C929DF}"/>
          </ac:picMkLst>
        </pc:picChg>
        <pc:picChg chg="add del mod">
          <ac:chgData name="Heininen Antti" userId="b3f08c9e-4b6a-48e9-a186-9b2511e5fd7e" providerId="ADAL" clId="{051EB65B-0F12-4A36-96F2-246D0E8AB412}" dt="2022-04-25T07:54:39.021" v="19"/>
          <ac:picMkLst>
            <pc:docMk/>
            <pc:sldMk cId="2431372268" sldId="899"/>
            <ac:picMk id="83" creationId="{497D862E-CA57-4411-B245-1F0299084B39}"/>
          </ac:picMkLst>
        </pc:picChg>
        <pc:picChg chg="add mod">
          <ac:chgData name="Heininen Antti" userId="b3f08c9e-4b6a-48e9-a186-9b2511e5fd7e" providerId="ADAL" clId="{051EB65B-0F12-4A36-96F2-246D0E8AB412}" dt="2022-04-25T07:59:40.746" v="138" actId="1076"/>
          <ac:picMkLst>
            <pc:docMk/>
            <pc:sldMk cId="2431372268" sldId="899"/>
            <ac:picMk id="104" creationId="{BD53DE18-8AC2-426F-A786-F9E4598434E7}"/>
          </ac:picMkLst>
        </pc:picChg>
        <pc:cxnChg chg="add del mod">
          <ac:chgData name="Heininen Antti" userId="b3f08c9e-4b6a-48e9-a186-9b2511e5fd7e" providerId="ADAL" clId="{051EB65B-0F12-4A36-96F2-246D0E8AB412}" dt="2022-04-25T07:54:23.302" v="15"/>
          <ac:cxnSpMkLst>
            <pc:docMk/>
            <pc:sldMk cId="2431372268" sldId="899"/>
            <ac:cxnSpMk id="10" creationId="{B2FBA5B1-7502-48F9-AB69-A7861A169343}"/>
          </ac:cxnSpMkLst>
        </pc:cxnChg>
        <pc:cxnChg chg="add del mod">
          <ac:chgData name="Heininen Antti" userId="b3f08c9e-4b6a-48e9-a186-9b2511e5fd7e" providerId="ADAL" clId="{051EB65B-0F12-4A36-96F2-246D0E8AB412}" dt="2022-04-25T07:54:23.302" v="15"/>
          <ac:cxnSpMkLst>
            <pc:docMk/>
            <pc:sldMk cId="2431372268" sldId="899"/>
            <ac:cxnSpMk id="25" creationId="{FA59B03C-B3D7-4279-854C-3BAA8BE7C88C}"/>
          </ac:cxnSpMkLst>
        </pc:cxnChg>
        <pc:cxnChg chg="add del mod">
          <ac:chgData name="Heininen Antti" userId="b3f08c9e-4b6a-48e9-a186-9b2511e5fd7e" providerId="ADAL" clId="{051EB65B-0F12-4A36-96F2-246D0E8AB412}" dt="2022-04-25T07:54:23.302" v="15"/>
          <ac:cxnSpMkLst>
            <pc:docMk/>
            <pc:sldMk cId="2431372268" sldId="899"/>
            <ac:cxnSpMk id="27" creationId="{035AD350-26B9-41A2-AE99-C851AC886EF3}"/>
          </ac:cxnSpMkLst>
        </pc:cxnChg>
        <pc:cxnChg chg="add del mod">
          <ac:chgData name="Heininen Antti" userId="b3f08c9e-4b6a-48e9-a186-9b2511e5fd7e" providerId="ADAL" clId="{051EB65B-0F12-4A36-96F2-246D0E8AB412}" dt="2022-04-25T07:54:23.302" v="15"/>
          <ac:cxnSpMkLst>
            <pc:docMk/>
            <pc:sldMk cId="2431372268" sldId="899"/>
            <ac:cxnSpMk id="33" creationId="{25A15D5E-31C0-4BD6-AFB6-FC66161CCEAC}"/>
          </ac:cxnSpMkLst>
        </pc:cxnChg>
        <pc:cxnChg chg="add del mod">
          <ac:chgData name="Heininen Antti" userId="b3f08c9e-4b6a-48e9-a186-9b2511e5fd7e" providerId="ADAL" clId="{051EB65B-0F12-4A36-96F2-246D0E8AB412}" dt="2022-04-25T07:54:23.302" v="15"/>
          <ac:cxnSpMkLst>
            <pc:docMk/>
            <pc:sldMk cId="2431372268" sldId="899"/>
            <ac:cxnSpMk id="34" creationId="{28FB58B0-591A-49C3-AF5E-D5F0B116112F}"/>
          </ac:cxnSpMkLst>
        </pc:cxnChg>
        <pc:cxnChg chg="add del mod">
          <ac:chgData name="Heininen Antti" userId="b3f08c9e-4b6a-48e9-a186-9b2511e5fd7e" providerId="ADAL" clId="{051EB65B-0F12-4A36-96F2-246D0E8AB412}" dt="2022-04-25T07:54:23.302" v="15"/>
          <ac:cxnSpMkLst>
            <pc:docMk/>
            <pc:sldMk cId="2431372268" sldId="899"/>
            <ac:cxnSpMk id="37" creationId="{C2943EAE-9F0A-4422-AA15-ECABB0E16926}"/>
          </ac:cxnSpMkLst>
        </pc:cxnChg>
        <pc:cxnChg chg="add del mod">
          <ac:chgData name="Heininen Antti" userId="b3f08c9e-4b6a-48e9-a186-9b2511e5fd7e" providerId="ADAL" clId="{051EB65B-0F12-4A36-96F2-246D0E8AB412}" dt="2022-04-25T07:54:23.302" v="15"/>
          <ac:cxnSpMkLst>
            <pc:docMk/>
            <pc:sldMk cId="2431372268" sldId="899"/>
            <ac:cxnSpMk id="39" creationId="{5CE91118-F87C-41FD-A931-BE2B3B1D1EE5}"/>
          </ac:cxnSpMkLst>
        </pc:cxnChg>
        <pc:cxnChg chg="add del mod">
          <ac:chgData name="Heininen Antti" userId="b3f08c9e-4b6a-48e9-a186-9b2511e5fd7e" providerId="ADAL" clId="{051EB65B-0F12-4A36-96F2-246D0E8AB412}" dt="2022-04-25T07:54:23.302" v="15"/>
          <ac:cxnSpMkLst>
            <pc:docMk/>
            <pc:sldMk cId="2431372268" sldId="899"/>
            <ac:cxnSpMk id="51" creationId="{E8EC9501-0C3B-4AAC-AD05-32EB5BFD1BFB}"/>
          </ac:cxnSpMkLst>
        </pc:cxnChg>
        <pc:cxnChg chg="add del mod">
          <ac:chgData name="Heininen Antti" userId="b3f08c9e-4b6a-48e9-a186-9b2511e5fd7e" providerId="ADAL" clId="{051EB65B-0F12-4A36-96F2-246D0E8AB412}" dt="2022-04-25T07:54:23.302" v="15"/>
          <ac:cxnSpMkLst>
            <pc:docMk/>
            <pc:sldMk cId="2431372268" sldId="899"/>
            <ac:cxnSpMk id="52" creationId="{07451B97-89DD-499C-8B64-BA2F8AE8E6DE}"/>
          </ac:cxnSpMkLst>
        </pc:cxnChg>
        <pc:cxnChg chg="add del mod">
          <ac:chgData name="Heininen Antti" userId="b3f08c9e-4b6a-48e9-a186-9b2511e5fd7e" providerId="ADAL" clId="{051EB65B-0F12-4A36-96F2-246D0E8AB412}" dt="2022-04-25T07:54:39.021" v="19"/>
          <ac:cxnSpMkLst>
            <pc:docMk/>
            <pc:sldMk cId="2431372268" sldId="899"/>
            <ac:cxnSpMk id="59" creationId="{3FC7465B-B53C-4B16-8B51-20B3D97EB614}"/>
          </ac:cxnSpMkLst>
        </pc:cxnChg>
        <pc:cxnChg chg="add del mod">
          <ac:chgData name="Heininen Antti" userId="b3f08c9e-4b6a-48e9-a186-9b2511e5fd7e" providerId="ADAL" clId="{051EB65B-0F12-4A36-96F2-246D0E8AB412}" dt="2022-04-25T07:54:39.021" v="19"/>
          <ac:cxnSpMkLst>
            <pc:docMk/>
            <pc:sldMk cId="2431372268" sldId="899"/>
            <ac:cxnSpMk id="70" creationId="{6005179B-4074-44FA-925C-EE50672D893C}"/>
          </ac:cxnSpMkLst>
        </pc:cxnChg>
        <pc:cxnChg chg="add del mod">
          <ac:chgData name="Heininen Antti" userId="b3f08c9e-4b6a-48e9-a186-9b2511e5fd7e" providerId="ADAL" clId="{051EB65B-0F12-4A36-96F2-246D0E8AB412}" dt="2022-04-25T07:54:39.021" v="19"/>
          <ac:cxnSpMkLst>
            <pc:docMk/>
            <pc:sldMk cId="2431372268" sldId="899"/>
            <ac:cxnSpMk id="72" creationId="{1934F441-9104-4A7F-9AA1-C4D4CFDE1166}"/>
          </ac:cxnSpMkLst>
        </pc:cxnChg>
        <pc:cxnChg chg="add del mod">
          <ac:chgData name="Heininen Antti" userId="b3f08c9e-4b6a-48e9-a186-9b2511e5fd7e" providerId="ADAL" clId="{051EB65B-0F12-4A36-96F2-246D0E8AB412}" dt="2022-04-25T07:54:39.021" v="19"/>
          <ac:cxnSpMkLst>
            <pc:docMk/>
            <pc:sldMk cId="2431372268" sldId="899"/>
            <ac:cxnSpMk id="77" creationId="{CFF86C6D-57DE-4991-9D26-4B39AA7A2D47}"/>
          </ac:cxnSpMkLst>
        </pc:cxnChg>
        <pc:cxnChg chg="add del mod">
          <ac:chgData name="Heininen Antti" userId="b3f08c9e-4b6a-48e9-a186-9b2511e5fd7e" providerId="ADAL" clId="{051EB65B-0F12-4A36-96F2-246D0E8AB412}" dt="2022-04-25T07:54:39.021" v="19"/>
          <ac:cxnSpMkLst>
            <pc:docMk/>
            <pc:sldMk cId="2431372268" sldId="899"/>
            <ac:cxnSpMk id="78" creationId="{52B08476-34C0-435F-A842-711109D46BC3}"/>
          </ac:cxnSpMkLst>
        </pc:cxnChg>
        <pc:cxnChg chg="add del mod">
          <ac:chgData name="Heininen Antti" userId="b3f08c9e-4b6a-48e9-a186-9b2511e5fd7e" providerId="ADAL" clId="{051EB65B-0F12-4A36-96F2-246D0E8AB412}" dt="2022-04-25T07:54:39.021" v="19"/>
          <ac:cxnSpMkLst>
            <pc:docMk/>
            <pc:sldMk cId="2431372268" sldId="899"/>
            <ac:cxnSpMk id="80" creationId="{5EFCC89B-0CE5-4280-B824-9FE0F54DEAEF}"/>
          </ac:cxnSpMkLst>
        </pc:cxnChg>
        <pc:cxnChg chg="add del mod">
          <ac:chgData name="Heininen Antti" userId="b3f08c9e-4b6a-48e9-a186-9b2511e5fd7e" providerId="ADAL" clId="{051EB65B-0F12-4A36-96F2-246D0E8AB412}" dt="2022-04-25T07:54:39.021" v="19"/>
          <ac:cxnSpMkLst>
            <pc:docMk/>
            <pc:sldMk cId="2431372268" sldId="899"/>
            <ac:cxnSpMk id="82" creationId="{FA1CF0F0-65EA-4734-A6F7-69B611EDAC07}"/>
          </ac:cxnSpMkLst>
        </pc:cxnChg>
        <pc:cxnChg chg="add del mod">
          <ac:chgData name="Heininen Antti" userId="b3f08c9e-4b6a-48e9-a186-9b2511e5fd7e" providerId="ADAL" clId="{051EB65B-0F12-4A36-96F2-246D0E8AB412}" dt="2022-04-25T07:54:39.021" v="19"/>
          <ac:cxnSpMkLst>
            <pc:docMk/>
            <pc:sldMk cId="2431372268" sldId="899"/>
            <ac:cxnSpMk id="102" creationId="{8C625FDD-01A9-4A49-A9A3-F9498C12EF57}"/>
          </ac:cxnSpMkLst>
        </pc:cxnChg>
        <pc:cxnChg chg="add del mod">
          <ac:chgData name="Heininen Antti" userId="b3f08c9e-4b6a-48e9-a186-9b2511e5fd7e" providerId="ADAL" clId="{051EB65B-0F12-4A36-96F2-246D0E8AB412}" dt="2022-04-25T07:54:39.021" v="19"/>
          <ac:cxnSpMkLst>
            <pc:docMk/>
            <pc:sldMk cId="2431372268" sldId="899"/>
            <ac:cxnSpMk id="103" creationId="{130A9FDA-10EB-4105-9601-D547AEA3E7AB}"/>
          </ac:cxnSpMkLst>
        </pc:cxnChg>
      </pc:sldChg>
      <pc:sldChg chg="addSp delSp modSp add mod">
        <pc:chgData name="Heininen Antti" userId="b3f08c9e-4b6a-48e9-a186-9b2511e5fd7e" providerId="ADAL" clId="{051EB65B-0F12-4A36-96F2-246D0E8AB412}" dt="2022-04-25T08:12:14.754" v="275" actId="1076"/>
        <pc:sldMkLst>
          <pc:docMk/>
          <pc:sldMk cId="309742093" sldId="900"/>
        </pc:sldMkLst>
        <pc:spChg chg="add del mod">
          <ac:chgData name="Heininen Antti" userId="b3f08c9e-4b6a-48e9-a186-9b2511e5fd7e" providerId="ADAL" clId="{051EB65B-0F12-4A36-96F2-246D0E8AB412}" dt="2022-04-25T08:02:50.455" v="221"/>
          <ac:spMkLst>
            <pc:docMk/>
            <pc:sldMk cId="309742093" sldId="900"/>
            <ac:spMk id="10" creationId="{04746DD9-4C94-4F85-A8B9-3389DCB0DAF2}"/>
          </ac:spMkLst>
        </pc:spChg>
        <pc:spChg chg="add del mod">
          <ac:chgData name="Heininen Antti" userId="b3f08c9e-4b6a-48e9-a186-9b2511e5fd7e" providerId="ADAL" clId="{051EB65B-0F12-4A36-96F2-246D0E8AB412}" dt="2022-04-25T08:02:50.455" v="221"/>
          <ac:spMkLst>
            <pc:docMk/>
            <pc:sldMk cId="309742093" sldId="900"/>
            <ac:spMk id="11" creationId="{B24F6B51-81BB-4ACF-A5F5-4492E735590C}"/>
          </ac:spMkLst>
        </pc:spChg>
        <pc:spChg chg="add del mod">
          <ac:chgData name="Heininen Antti" userId="b3f08c9e-4b6a-48e9-a186-9b2511e5fd7e" providerId="ADAL" clId="{051EB65B-0F12-4A36-96F2-246D0E8AB412}" dt="2022-04-25T08:02:50.455" v="221"/>
          <ac:spMkLst>
            <pc:docMk/>
            <pc:sldMk cId="309742093" sldId="900"/>
            <ac:spMk id="12" creationId="{BF78CD86-8FF4-4247-85A5-D5CD1CAA6D34}"/>
          </ac:spMkLst>
        </pc:spChg>
        <pc:spChg chg="add del mod">
          <ac:chgData name="Heininen Antti" userId="b3f08c9e-4b6a-48e9-a186-9b2511e5fd7e" providerId="ADAL" clId="{051EB65B-0F12-4A36-96F2-246D0E8AB412}" dt="2022-04-25T08:02:50.455" v="221"/>
          <ac:spMkLst>
            <pc:docMk/>
            <pc:sldMk cId="309742093" sldId="900"/>
            <ac:spMk id="13" creationId="{FD01C780-A16E-4DCC-BA32-7C6F7A85AE8A}"/>
          </ac:spMkLst>
        </pc:spChg>
        <pc:spChg chg="add del mod">
          <ac:chgData name="Heininen Antti" userId="b3f08c9e-4b6a-48e9-a186-9b2511e5fd7e" providerId="ADAL" clId="{051EB65B-0F12-4A36-96F2-246D0E8AB412}" dt="2022-04-25T08:02:50.455" v="221"/>
          <ac:spMkLst>
            <pc:docMk/>
            <pc:sldMk cId="309742093" sldId="900"/>
            <ac:spMk id="14" creationId="{B0B69DE2-CD6C-4836-9605-8BB071DA7C62}"/>
          </ac:spMkLst>
        </pc:spChg>
        <pc:spChg chg="add del mod">
          <ac:chgData name="Heininen Antti" userId="b3f08c9e-4b6a-48e9-a186-9b2511e5fd7e" providerId="ADAL" clId="{051EB65B-0F12-4A36-96F2-246D0E8AB412}" dt="2022-04-25T08:02:50.455" v="221"/>
          <ac:spMkLst>
            <pc:docMk/>
            <pc:sldMk cId="309742093" sldId="900"/>
            <ac:spMk id="15" creationId="{308BCD73-D9A4-40F3-B5D3-B96DDB3550E9}"/>
          </ac:spMkLst>
        </pc:spChg>
        <pc:spChg chg="add del mod">
          <ac:chgData name="Heininen Antti" userId="b3f08c9e-4b6a-48e9-a186-9b2511e5fd7e" providerId="ADAL" clId="{051EB65B-0F12-4A36-96F2-246D0E8AB412}" dt="2022-04-25T08:02:50.455" v="221"/>
          <ac:spMkLst>
            <pc:docMk/>
            <pc:sldMk cId="309742093" sldId="900"/>
            <ac:spMk id="16" creationId="{36A8F119-5356-4400-90D6-2A3C6934A608}"/>
          </ac:spMkLst>
        </pc:spChg>
        <pc:spChg chg="add del mod">
          <ac:chgData name="Heininen Antti" userId="b3f08c9e-4b6a-48e9-a186-9b2511e5fd7e" providerId="ADAL" clId="{051EB65B-0F12-4A36-96F2-246D0E8AB412}" dt="2022-04-25T08:02:50.455" v="221"/>
          <ac:spMkLst>
            <pc:docMk/>
            <pc:sldMk cId="309742093" sldId="900"/>
            <ac:spMk id="17" creationId="{CD1C3007-B3AD-4B9C-BCC2-B55F6A73CBFA}"/>
          </ac:spMkLst>
        </pc:spChg>
        <pc:spChg chg="add del mod">
          <ac:chgData name="Heininen Antti" userId="b3f08c9e-4b6a-48e9-a186-9b2511e5fd7e" providerId="ADAL" clId="{051EB65B-0F12-4A36-96F2-246D0E8AB412}" dt="2022-04-25T08:02:50.455" v="221"/>
          <ac:spMkLst>
            <pc:docMk/>
            <pc:sldMk cId="309742093" sldId="900"/>
            <ac:spMk id="20" creationId="{2A85EC11-4D18-46A8-BC36-2694A97A2452}"/>
          </ac:spMkLst>
        </pc:spChg>
        <pc:spChg chg="add del mod">
          <ac:chgData name="Heininen Antti" userId="b3f08c9e-4b6a-48e9-a186-9b2511e5fd7e" providerId="ADAL" clId="{051EB65B-0F12-4A36-96F2-246D0E8AB412}" dt="2022-04-25T08:02:50.455" v="221"/>
          <ac:spMkLst>
            <pc:docMk/>
            <pc:sldMk cId="309742093" sldId="900"/>
            <ac:spMk id="21" creationId="{4DBAB5D2-ECFF-4790-928C-741BA9B73CA9}"/>
          </ac:spMkLst>
        </pc:spChg>
        <pc:spChg chg="add del mod">
          <ac:chgData name="Heininen Antti" userId="b3f08c9e-4b6a-48e9-a186-9b2511e5fd7e" providerId="ADAL" clId="{051EB65B-0F12-4A36-96F2-246D0E8AB412}" dt="2022-04-25T08:02:50.455" v="221"/>
          <ac:spMkLst>
            <pc:docMk/>
            <pc:sldMk cId="309742093" sldId="900"/>
            <ac:spMk id="22" creationId="{4111B3C4-4DF7-4CD5-A906-42EFA658C2E5}"/>
          </ac:spMkLst>
        </pc:spChg>
        <pc:spChg chg="add del mod">
          <ac:chgData name="Heininen Antti" userId="b3f08c9e-4b6a-48e9-a186-9b2511e5fd7e" providerId="ADAL" clId="{051EB65B-0F12-4A36-96F2-246D0E8AB412}" dt="2022-04-25T08:02:50.455" v="221"/>
          <ac:spMkLst>
            <pc:docMk/>
            <pc:sldMk cId="309742093" sldId="900"/>
            <ac:spMk id="27" creationId="{C2B635FF-3284-47D9-9365-6841DAF771D1}"/>
          </ac:spMkLst>
        </pc:spChg>
        <pc:spChg chg="add del mod">
          <ac:chgData name="Heininen Antti" userId="b3f08c9e-4b6a-48e9-a186-9b2511e5fd7e" providerId="ADAL" clId="{051EB65B-0F12-4A36-96F2-246D0E8AB412}" dt="2022-04-25T08:02:50.455" v="221"/>
          <ac:spMkLst>
            <pc:docMk/>
            <pc:sldMk cId="309742093" sldId="900"/>
            <ac:spMk id="28" creationId="{A5C605C6-69E0-4254-8A7F-DAB5880B96A1}"/>
          </ac:spMkLst>
        </pc:spChg>
        <pc:spChg chg="add del mod">
          <ac:chgData name="Heininen Antti" userId="b3f08c9e-4b6a-48e9-a186-9b2511e5fd7e" providerId="ADAL" clId="{051EB65B-0F12-4A36-96F2-246D0E8AB412}" dt="2022-04-25T08:02:50.455" v="221"/>
          <ac:spMkLst>
            <pc:docMk/>
            <pc:sldMk cId="309742093" sldId="900"/>
            <ac:spMk id="29" creationId="{ED570675-DB54-4FB3-A372-27BEB2D8B921}"/>
          </ac:spMkLst>
        </pc:spChg>
        <pc:spChg chg="add del mod">
          <ac:chgData name="Heininen Antti" userId="b3f08c9e-4b6a-48e9-a186-9b2511e5fd7e" providerId="ADAL" clId="{051EB65B-0F12-4A36-96F2-246D0E8AB412}" dt="2022-04-25T08:02:50.455" v="221"/>
          <ac:spMkLst>
            <pc:docMk/>
            <pc:sldMk cId="309742093" sldId="900"/>
            <ac:spMk id="30" creationId="{1F495B15-A072-469D-A17F-FE52C6C92320}"/>
          </ac:spMkLst>
        </pc:spChg>
        <pc:spChg chg="add del mod">
          <ac:chgData name="Heininen Antti" userId="b3f08c9e-4b6a-48e9-a186-9b2511e5fd7e" providerId="ADAL" clId="{051EB65B-0F12-4A36-96F2-246D0E8AB412}" dt="2022-04-25T08:02:50.455" v="221"/>
          <ac:spMkLst>
            <pc:docMk/>
            <pc:sldMk cId="309742093" sldId="900"/>
            <ac:spMk id="32" creationId="{A2C34ADB-EA3A-4853-B693-6B501C612EB6}"/>
          </ac:spMkLst>
        </pc:spChg>
        <pc:spChg chg="add del mod">
          <ac:chgData name="Heininen Antti" userId="b3f08c9e-4b6a-48e9-a186-9b2511e5fd7e" providerId="ADAL" clId="{051EB65B-0F12-4A36-96F2-246D0E8AB412}" dt="2022-04-25T08:02:50.455" v="221"/>
          <ac:spMkLst>
            <pc:docMk/>
            <pc:sldMk cId="309742093" sldId="900"/>
            <ac:spMk id="35" creationId="{F76C7374-257C-43C9-998B-BDF2904844EC}"/>
          </ac:spMkLst>
        </pc:spChg>
        <pc:spChg chg="add del mod">
          <ac:chgData name="Heininen Antti" userId="b3f08c9e-4b6a-48e9-a186-9b2511e5fd7e" providerId="ADAL" clId="{051EB65B-0F12-4A36-96F2-246D0E8AB412}" dt="2022-04-25T08:02:50.455" v="221"/>
          <ac:spMkLst>
            <pc:docMk/>
            <pc:sldMk cId="309742093" sldId="900"/>
            <ac:spMk id="36" creationId="{E38FC50D-9A7F-4B41-9B1B-A7FC3DFD51A9}"/>
          </ac:spMkLst>
        </pc:spChg>
        <pc:spChg chg="add del mod">
          <ac:chgData name="Heininen Antti" userId="b3f08c9e-4b6a-48e9-a186-9b2511e5fd7e" providerId="ADAL" clId="{051EB65B-0F12-4A36-96F2-246D0E8AB412}" dt="2022-04-25T08:02:50.455" v="221"/>
          <ac:spMkLst>
            <pc:docMk/>
            <pc:sldMk cId="309742093" sldId="900"/>
            <ac:spMk id="37" creationId="{4F019182-66C8-4603-84EF-5ABAE374D49D}"/>
          </ac:spMkLst>
        </pc:spChg>
        <pc:spChg chg="add del mod">
          <ac:chgData name="Heininen Antti" userId="b3f08c9e-4b6a-48e9-a186-9b2511e5fd7e" providerId="ADAL" clId="{051EB65B-0F12-4A36-96F2-246D0E8AB412}" dt="2022-04-25T08:02:50.455" v="221"/>
          <ac:spMkLst>
            <pc:docMk/>
            <pc:sldMk cId="309742093" sldId="900"/>
            <ac:spMk id="38" creationId="{5609565B-8CAA-457B-B311-CD2B12C4D99B}"/>
          </ac:spMkLst>
        </pc:spChg>
        <pc:spChg chg="add del mod">
          <ac:chgData name="Heininen Antti" userId="b3f08c9e-4b6a-48e9-a186-9b2511e5fd7e" providerId="ADAL" clId="{051EB65B-0F12-4A36-96F2-246D0E8AB412}" dt="2022-04-25T08:02:50.455" v="221"/>
          <ac:spMkLst>
            <pc:docMk/>
            <pc:sldMk cId="309742093" sldId="900"/>
            <ac:spMk id="39" creationId="{CF95FCEB-36B1-41CF-98DA-94C3FB054CC0}"/>
          </ac:spMkLst>
        </pc:spChg>
        <pc:spChg chg="add del mod">
          <ac:chgData name="Heininen Antti" userId="b3f08c9e-4b6a-48e9-a186-9b2511e5fd7e" providerId="ADAL" clId="{051EB65B-0F12-4A36-96F2-246D0E8AB412}" dt="2022-04-25T08:02:50.455" v="221"/>
          <ac:spMkLst>
            <pc:docMk/>
            <pc:sldMk cId="309742093" sldId="900"/>
            <ac:spMk id="42" creationId="{318FB79F-28CF-4B5C-82AF-E2B0BE3B7E87}"/>
          </ac:spMkLst>
        </pc:spChg>
        <pc:spChg chg="add del mod">
          <ac:chgData name="Heininen Antti" userId="b3f08c9e-4b6a-48e9-a186-9b2511e5fd7e" providerId="ADAL" clId="{051EB65B-0F12-4A36-96F2-246D0E8AB412}" dt="2022-04-25T08:02:50.455" v="221"/>
          <ac:spMkLst>
            <pc:docMk/>
            <pc:sldMk cId="309742093" sldId="900"/>
            <ac:spMk id="43" creationId="{26D99695-B370-49A2-9A80-6E7E7B34FD91}"/>
          </ac:spMkLst>
        </pc:spChg>
        <pc:spChg chg="add del mod">
          <ac:chgData name="Heininen Antti" userId="b3f08c9e-4b6a-48e9-a186-9b2511e5fd7e" providerId="ADAL" clId="{051EB65B-0F12-4A36-96F2-246D0E8AB412}" dt="2022-04-25T08:02:50.455" v="221"/>
          <ac:spMkLst>
            <pc:docMk/>
            <pc:sldMk cId="309742093" sldId="900"/>
            <ac:spMk id="44" creationId="{6F45FC98-5568-46AD-A805-AE35ED65EF10}"/>
          </ac:spMkLst>
        </pc:spChg>
        <pc:spChg chg="add del mod">
          <ac:chgData name="Heininen Antti" userId="b3f08c9e-4b6a-48e9-a186-9b2511e5fd7e" providerId="ADAL" clId="{051EB65B-0F12-4A36-96F2-246D0E8AB412}" dt="2022-04-25T08:02:50.455" v="221"/>
          <ac:spMkLst>
            <pc:docMk/>
            <pc:sldMk cId="309742093" sldId="900"/>
            <ac:spMk id="45" creationId="{F281ED96-9404-4935-ACE0-AC9A6000F4B1}"/>
          </ac:spMkLst>
        </pc:spChg>
        <pc:spChg chg="add del mod">
          <ac:chgData name="Heininen Antti" userId="b3f08c9e-4b6a-48e9-a186-9b2511e5fd7e" providerId="ADAL" clId="{051EB65B-0F12-4A36-96F2-246D0E8AB412}" dt="2022-04-25T08:02:50.455" v="221"/>
          <ac:spMkLst>
            <pc:docMk/>
            <pc:sldMk cId="309742093" sldId="900"/>
            <ac:spMk id="46" creationId="{E2A74BC5-056A-4E3A-9BA8-B219C36DE423}"/>
          </ac:spMkLst>
        </pc:spChg>
        <pc:spChg chg="add del mod">
          <ac:chgData name="Heininen Antti" userId="b3f08c9e-4b6a-48e9-a186-9b2511e5fd7e" providerId="ADAL" clId="{051EB65B-0F12-4A36-96F2-246D0E8AB412}" dt="2022-04-25T08:02:50.455" v="221"/>
          <ac:spMkLst>
            <pc:docMk/>
            <pc:sldMk cId="309742093" sldId="900"/>
            <ac:spMk id="47" creationId="{90755453-6663-41E8-BF03-965C367565CD}"/>
          </ac:spMkLst>
        </pc:spChg>
        <pc:spChg chg="add del mod">
          <ac:chgData name="Heininen Antti" userId="b3f08c9e-4b6a-48e9-a186-9b2511e5fd7e" providerId="ADAL" clId="{051EB65B-0F12-4A36-96F2-246D0E8AB412}" dt="2022-04-25T08:02:50.455" v="221"/>
          <ac:spMkLst>
            <pc:docMk/>
            <pc:sldMk cId="309742093" sldId="900"/>
            <ac:spMk id="48" creationId="{72C51226-2AED-4F6A-AE1F-088BFF3BAE30}"/>
          </ac:spMkLst>
        </pc:spChg>
        <pc:spChg chg="add del mod">
          <ac:chgData name="Heininen Antti" userId="b3f08c9e-4b6a-48e9-a186-9b2511e5fd7e" providerId="ADAL" clId="{051EB65B-0F12-4A36-96F2-246D0E8AB412}" dt="2022-04-25T08:02:50.455" v="221"/>
          <ac:spMkLst>
            <pc:docMk/>
            <pc:sldMk cId="309742093" sldId="900"/>
            <ac:spMk id="49" creationId="{89C2AE29-3BDD-47FF-AD1A-7D6B70802FE5}"/>
          </ac:spMkLst>
        </pc:spChg>
        <pc:spChg chg="add del mod">
          <ac:chgData name="Heininen Antti" userId="b3f08c9e-4b6a-48e9-a186-9b2511e5fd7e" providerId="ADAL" clId="{051EB65B-0F12-4A36-96F2-246D0E8AB412}" dt="2022-04-25T08:02:50.455" v="221"/>
          <ac:spMkLst>
            <pc:docMk/>
            <pc:sldMk cId="309742093" sldId="900"/>
            <ac:spMk id="50" creationId="{903F0F85-2EAC-40A5-B697-5D8AF8ADB0EE}"/>
          </ac:spMkLst>
        </pc:spChg>
        <pc:spChg chg="add del mod">
          <ac:chgData name="Heininen Antti" userId="b3f08c9e-4b6a-48e9-a186-9b2511e5fd7e" providerId="ADAL" clId="{051EB65B-0F12-4A36-96F2-246D0E8AB412}" dt="2022-04-25T08:02:50.455" v="221"/>
          <ac:spMkLst>
            <pc:docMk/>
            <pc:sldMk cId="309742093" sldId="900"/>
            <ac:spMk id="51" creationId="{51DC3285-D29D-4102-9365-B30642E39027}"/>
          </ac:spMkLst>
        </pc:spChg>
        <pc:spChg chg="add del mod">
          <ac:chgData name="Heininen Antti" userId="b3f08c9e-4b6a-48e9-a186-9b2511e5fd7e" providerId="ADAL" clId="{051EB65B-0F12-4A36-96F2-246D0E8AB412}" dt="2022-04-25T08:02:50.455" v="221"/>
          <ac:spMkLst>
            <pc:docMk/>
            <pc:sldMk cId="309742093" sldId="900"/>
            <ac:spMk id="55" creationId="{33CBC3D0-9FD0-4DAB-92D6-B15D16FE4E1B}"/>
          </ac:spMkLst>
        </pc:spChg>
        <pc:spChg chg="add del mod">
          <ac:chgData name="Heininen Antti" userId="b3f08c9e-4b6a-48e9-a186-9b2511e5fd7e" providerId="ADAL" clId="{051EB65B-0F12-4A36-96F2-246D0E8AB412}" dt="2022-04-25T08:02:50.455" v="221"/>
          <ac:spMkLst>
            <pc:docMk/>
            <pc:sldMk cId="309742093" sldId="900"/>
            <ac:spMk id="56" creationId="{BB7B8F87-B522-47DF-81A5-86E56928B2B4}"/>
          </ac:spMkLst>
        </pc:spChg>
        <pc:spChg chg="add del mod">
          <ac:chgData name="Heininen Antti" userId="b3f08c9e-4b6a-48e9-a186-9b2511e5fd7e" providerId="ADAL" clId="{051EB65B-0F12-4A36-96F2-246D0E8AB412}" dt="2022-04-25T08:02:50.455" v="221"/>
          <ac:spMkLst>
            <pc:docMk/>
            <pc:sldMk cId="309742093" sldId="900"/>
            <ac:spMk id="57" creationId="{0A2343D3-ED24-453D-B7CA-AB21A9C8E0CD}"/>
          </ac:spMkLst>
        </pc:spChg>
        <pc:spChg chg="add del mod">
          <ac:chgData name="Heininen Antti" userId="b3f08c9e-4b6a-48e9-a186-9b2511e5fd7e" providerId="ADAL" clId="{051EB65B-0F12-4A36-96F2-246D0E8AB412}" dt="2022-04-25T08:02:50.455" v="221"/>
          <ac:spMkLst>
            <pc:docMk/>
            <pc:sldMk cId="309742093" sldId="900"/>
            <ac:spMk id="58" creationId="{978465DF-EB24-4174-ADAC-F850B66A6674}"/>
          </ac:spMkLst>
        </pc:spChg>
        <pc:spChg chg="add del mod">
          <ac:chgData name="Heininen Antti" userId="b3f08c9e-4b6a-48e9-a186-9b2511e5fd7e" providerId="ADAL" clId="{051EB65B-0F12-4A36-96F2-246D0E8AB412}" dt="2022-04-25T08:02:50.455" v="221"/>
          <ac:spMkLst>
            <pc:docMk/>
            <pc:sldMk cId="309742093" sldId="900"/>
            <ac:spMk id="59" creationId="{A4F8A240-C880-4FF8-9E78-B9BB9FD0C0B5}"/>
          </ac:spMkLst>
        </pc:spChg>
        <pc:spChg chg="add del mod">
          <ac:chgData name="Heininen Antti" userId="b3f08c9e-4b6a-48e9-a186-9b2511e5fd7e" providerId="ADAL" clId="{051EB65B-0F12-4A36-96F2-246D0E8AB412}" dt="2022-04-25T08:02:50.455" v="221"/>
          <ac:spMkLst>
            <pc:docMk/>
            <pc:sldMk cId="309742093" sldId="900"/>
            <ac:spMk id="60" creationId="{F8FD3D60-3EE7-46D9-872F-C491BDDE8EFD}"/>
          </ac:spMkLst>
        </pc:spChg>
        <pc:spChg chg="add del mod">
          <ac:chgData name="Heininen Antti" userId="b3f08c9e-4b6a-48e9-a186-9b2511e5fd7e" providerId="ADAL" clId="{051EB65B-0F12-4A36-96F2-246D0E8AB412}" dt="2022-04-25T08:02:50.455" v="221"/>
          <ac:spMkLst>
            <pc:docMk/>
            <pc:sldMk cId="309742093" sldId="900"/>
            <ac:spMk id="61" creationId="{EC353462-024F-48BE-AF5F-E0B0F81E0A21}"/>
          </ac:spMkLst>
        </pc:spChg>
        <pc:spChg chg="add del mod">
          <ac:chgData name="Heininen Antti" userId="b3f08c9e-4b6a-48e9-a186-9b2511e5fd7e" providerId="ADAL" clId="{051EB65B-0F12-4A36-96F2-246D0E8AB412}" dt="2022-04-25T08:02:50.455" v="221"/>
          <ac:spMkLst>
            <pc:docMk/>
            <pc:sldMk cId="309742093" sldId="900"/>
            <ac:spMk id="62" creationId="{AC151C07-A0DC-4F46-8FE2-75C05123242A}"/>
          </ac:spMkLst>
        </pc:spChg>
        <pc:spChg chg="add del mod">
          <ac:chgData name="Heininen Antti" userId="b3f08c9e-4b6a-48e9-a186-9b2511e5fd7e" providerId="ADAL" clId="{051EB65B-0F12-4A36-96F2-246D0E8AB412}" dt="2022-04-25T08:03:30.955" v="229"/>
          <ac:spMkLst>
            <pc:docMk/>
            <pc:sldMk cId="309742093" sldId="900"/>
            <ac:spMk id="64" creationId="{E535EB5A-487F-42EE-B5D4-B305F075381B}"/>
          </ac:spMkLst>
        </pc:spChg>
        <pc:spChg chg="add del mod">
          <ac:chgData name="Heininen Antti" userId="b3f08c9e-4b6a-48e9-a186-9b2511e5fd7e" providerId="ADAL" clId="{051EB65B-0F12-4A36-96F2-246D0E8AB412}" dt="2022-04-25T08:03:30.955" v="229"/>
          <ac:spMkLst>
            <pc:docMk/>
            <pc:sldMk cId="309742093" sldId="900"/>
            <ac:spMk id="65" creationId="{81B57E1D-AA4C-4896-AE92-B91922881465}"/>
          </ac:spMkLst>
        </pc:spChg>
        <pc:spChg chg="add del mod">
          <ac:chgData name="Heininen Antti" userId="b3f08c9e-4b6a-48e9-a186-9b2511e5fd7e" providerId="ADAL" clId="{051EB65B-0F12-4A36-96F2-246D0E8AB412}" dt="2022-04-25T08:03:30.955" v="229"/>
          <ac:spMkLst>
            <pc:docMk/>
            <pc:sldMk cId="309742093" sldId="900"/>
            <ac:spMk id="66" creationId="{D0F31082-D501-43A7-BF2F-01561BEC97EB}"/>
          </ac:spMkLst>
        </pc:spChg>
        <pc:spChg chg="add del mod">
          <ac:chgData name="Heininen Antti" userId="b3f08c9e-4b6a-48e9-a186-9b2511e5fd7e" providerId="ADAL" clId="{051EB65B-0F12-4A36-96F2-246D0E8AB412}" dt="2022-04-25T08:03:30.955" v="229"/>
          <ac:spMkLst>
            <pc:docMk/>
            <pc:sldMk cId="309742093" sldId="900"/>
            <ac:spMk id="67" creationId="{D5A83D79-EC54-4DD5-B4B5-6D3B93F649E0}"/>
          </ac:spMkLst>
        </pc:spChg>
        <pc:spChg chg="add del mod">
          <ac:chgData name="Heininen Antti" userId="b3f08c9e-4b6a-48e9-a186-9b2511e5fd7e" providerId="ADAL" clId="{051EB65B-0F12-4A36-96F2-246D0E8AB412}" dt="2022-04-25T08:03:30.955" v="229"/>
          <ac:spMkLst>
            <pc:docMk/>
            <pc:sldMk cId="309742093" sldId="900"/>
            <ac:spMk id="68" creationId="{1317C1EF-7AF3-4228-AEE5-ADD6EEAE615E}"/>
          </ac:spMkLst>
        </pc:spChg>
        <pc:spChg chg="add del mod">
          <ac:chgData name="Heininen Antti" userId="b3f08c9e-4b6a-48e9-a186-9b2511e5fd7e" providerId="ADAL" clId="{051EB65B-0F12-4A36-96F2-246D0E8AB412}" dt="2022-04-25T08:03:30.955" v="229"/>
          <ac:spMkLst>
            <pc:docMk/>
            <pc:sldMk cId="309742093" sldId="900"/>
            <ac:spMk id="71" creationId="{65EA06AE-E714-41D7-9D34-13F5CA633B2C}"/>
          </ac:spMkLst>
        </pc:spChg>
        <pc:spChg chg="add del mod">
          <ac:chgData name="Heininen Antti" userId="b3f08c9e-4b6a-48e9-a186-9b2511e5fd7e" providerId="ADAL" clId="{051EB65B-0F12-4A36-96F2-246D0E8AB412}" dt="2022-04-25T08:03:30.955" v="229"/>
          <ac:spMkLst>
            <pc:docMk/>
            <pc:sldMk cId="309742093" sldId="900"/>
            <ac:spMk id="72" creationId="{6A9D28D0-344C-4F7D-8252-4A3743798629}"/>
          </ac:spMkLst>
        </pc:spChg>
        <pc:spChg chg="add del mod">
          <ac:chgData name="Heininen Antti" userId="b3f08c9e-4b6a-48e9-a186-9b2511e5fd7e" providerId="ADAL" clId="{051EB65B-0F12-4A36-96F2-246D0E8AB412}" dt="2022-04-25T08:03:30.955" v="229"/>
          <ac:spMkLst>
            <pc:docMk/>
            <pc:sldMk cId="309742093" sldId="900"/>
            <ac:spMk id="73" creationId="{D804C908-B073-469B-9133-03026A4E5543}"/>
          </ac:spMkLst>
        </pc:spChg>
        <pc:spChg chg="add del mod">
          <ac:chgData name="Heininen Antti" userId="b3f08c9e-4b6a-48e9-a186-9b2511e5fd7e" providerId="ADAL" clId="{051EB65B-0F12-4A36-96F2-246D0E8AB412}" dt="2022-04-25T08:03:30.955" v="229"/>
          <ac:spMkLst>
            <pc:docMk/>
            <pc:sldMk cId="309742093" sldId="900"/>
            <ac:spMk id="77" creationId="{27D23836-27D9-4741-ACFC-8CF9CAC67BCB}"/>
          </ac:spMkLst>
        </pc:spChg>
        <pc:spChg chg="add del mod">
          <ac:chgData name="Heininen Antti" userId="b3f08c9e-4b6a-48e9-a186-9b2511e5fd7e" providerId="ADAL" clId="{051EB65B-0F12-4A36-96F2-246D0E8AB412}" dt="2022-04-25T08:03:30.955" v="229"/>
          <ac:spMkLst>
            <pc:docMk/>
            <pc:sldMk cId="309742093" sldId="900"/>
            <ac:spMk id="78" creationId="{EC4D3227-C7DD-4314-8816-E30CA4949C88}"/>
          </ac:spMkLst>
        </pc:spChg>
        <pc:spChg chg="add del mod">
          <ac:chgData name="Heininen Antti" userId="b3f08c9e-4b6a-48e9-a186-9b2511e5fd7e" providerId="ADAL" clId="{051EB65B-0F12-4A36-96F2-246D0E8AB412}" dt="2022-04-25T08:03:30.955" v="229"/>
          <ac:spMkLst>
            <pc:docMk/>
            <pc:sldMk cId="309742093" sldId="900"/>
            <ac:spMk id="79" creationId="{46101141-5030-4DE9-8B90-8592B0B8B0D7}"/>
          </ac:spMkLst>
        </pc:spChg>
        <pc:spChg chg="add del mod">
          <ac:chgData name="Heininen Antti" userId="b3f08c9e-4b6a-48e9-a186-9b2511e5fd7e" providerId="ADAL" clId="{051EB65B-0F12-4A36-96F2-246D0E8AB412}" dt="2022-04-25T08:03:30.955" v="229"/>
          <ac:spMkLst>
            <pc:docMk/>
            <pc:sldMk cId="309742093" sldId="900"/>
            <ac:spMk id="81" creationId="{38142745-3E59-4993-9ED2-C4266A73BCB1}"/>
          </ac:spMkLst>
        </pc:spChg>
        <pc:spChg chg="add del mod">
          <ac:chgData name="Heininen Antti" userId="b3f08c9e-4b6a-48e9-a186-9b2511e5fd7e" providerId="ADAL" clId="{051EB65B-0F12-4A36-96F2-246D0E8AB412}" dt="2022-04-25T08:03:30.955" v="229"/>
          <ac:spMkLst>
            <pc:docMk/>
            <pc:sldMk cId="309742093" sldId="900"/>
            <ac:spMk id="83" creationId="{99CB15A7-647E-4A58-91CD-B28DCB5D0491}"/>
          </ac:spMkLst>
        </pc:spChg>
        <pc:spChg chg="add del mod">
          <ac:chgData name="Heininen Antti" userId="b3f08c9e-4b6a-48e9-a186-9b2511e5fd7e" providerId="ADAL" clId="{051EB65B-0F12-4A36-96F2-246D0E8AB412}" dt="2022-04-25T08:03:30.955" v="229"/>
          <ac:spMkLst>
            <pc:docMk/>
            <pc:sldMk cId="309742093" sldId="900"/>
            <ac:spMk id="85" creationId="{B2489C32-8E61-4BFC-8A74-19EF6CE998ED}"/>
          </ac:spMkLst>
        </pc:spChg>
        <pc:spChg chg="add del mod">
          <ac:chgData name="Heininen Antti" userId="b3f08c9e-4b6a-48e9-a186-9b2511e5fd7e" providerId="ADAL" clId="{051EB65B-0F12-4A36-96F2-246D0E8AB412}" dt="2022-04-25T08:03:30.955" v="229"/>
          <ac:spMkLst>
            <pc:docMk/>
            <pc:sldMk cId="309742093" sldId="900"/>
            <ac:spMk id="86" creationId="{3046D470-AE92-444D-BEE9-FEE9094ACD73}"/>
          </ac:spMkLst>
        </pc:spChg>
        <pc:spChg chg="add del mod">
          <ac:chgData name="Heininen Antti" userId="b3f08c9e-4b6a-48e9-a186-9b2511e5fd7e" providerId="ADAL" clId="{051EB65B-0F12-4A36-96F2-246D0E8AB412}" dt="2022-04-25T08:03:30.955" v="229"/>
          <ac:spMkLst>
            <pc:docMk/>
            <pc:sldMk cId="309742093" sldId="900"/>
            <ac:spMk id="87" creationId="{E636038D-0009-40C9-B771-A3E2D131EA60}"/>
          </ac:spMkLst>
        </pc:spChg>
        <pc:spChg chg="add del mod">
          <ac:chgData name="Heininen Antti" userId="b3f08c9e-4b6a-48e9-a186-9b2511e5fd7e" providerId="ADAL" clId="{051EB65B-0F12-4A36-96F2-246D0E8AB412}" dt="2022-04-25T08:03:30.955" v="229"/>
          <ac:spMkLst>
            <pc:docMk/>
            <pc:sldMk cId="309742093" sldId="900"/>
            <ac:spMk id="88" creationId="{24042724-8C1D-4F0F-A9EA-9DCE25E6368F}"/>
          </ac:spMkLst>
        </pc:spChg>
        <pc:spChg chg="add del mod">
          <ac:chgData name="Heininen Antti" userId="b3f08c9e-4b6a-48e9-a186-9b2511e5fd7e" providerId="ADAL" clId="{051EB65B-0F12-4A36-96F2-246D0E8AB412}" dt="2022-04-25T08:03:30.955" v="229"/>
          <ac:spMkLst>
            <pc:docMk/>
            <pc:sldMk cId="309742093" sldId="900"/>
            <ac:spMk id="89" creationId="{57E1FDE5-7D57-426C-B785-D566E0073A83}"/>
          </ac:spMkLst>
        </pc:spChg>
        <pc:spChg chg="add del mod">
          <ac:chgData name="Heininen Antti" userId="b3f08c9e-4b6a-48e9-a186-9b2511e5fd7e" providerId="ADAL" clId="{051EB65B-0F12-4A36-96F2-246D0E8AB412}" dt="2022-04-25T08:03:30.955" v="229"/>
          <ac:spMkLst>
            <pc:docMk/>
            <pc:sldMk cId="309742093" sldId="900"/>
            <ac:spMk id="92" creationId="{3C5F2AE7-6624-41C4-84CE-0C148327426C}"/>
          </ac:spMkLst>
        </pc:spChg>
        <pc:spChg chg="add del mod">
          <ac:chgData name="Heininen Antti" userId="b3f08c9e-4b6a-48e9-a186-9b2511e5fd7e" providerId="ADAL" clId="{051EB65B-0F12-4A36-96F2-246D0E8AB412}" dt="2022-04-25T08:03:30.955" v="229"/>
          <ac:spMkLst>
            <pc:docMk/>
            <pc:sldMk cId="309742093" sldId="900"/>
            <ac:spMk id="93" creationId="{590C0095-A4BA-4EFD-BC49-C70DA374492F}"/>
          </ac:spMkLst>
        </pc:spChg>
        <pc:spChg chg="add del mod">
          <ac:chgData name="Heininen Antti" userId="b3f08c9e-4b6a-48e9-a186-9b2511e5fd7e" providerId="ADAL" clId="{051EB65B-0F12-4A36-96F2-246D0E8AB412}" dt="2022-04-25T08:03:30.955" v="229"/>
          <ac:spMkLst>
            <pc:docMk/>
            <pc:sldMk cId="309742093" sldId="900"/>
            <ac:spMk id="94" creationId="{98F230A2-24CC-4260-BEF0-A70907D74BD0}"/>
          </ac:spMkLst>
        </pc:spChg>
        <pc:spChg chg="add del mod">
          <ac:chgData name="Heininen Antti" userId="b3f08c9e-4b6a-48e9-a186-9b2511e5fd7e" providerId="ADAL" clId="{051EB65B-0F12-4A36-96F2-246D0E8AB412}" dt="2022-04-25T08:03:30.955" v="229"/>
          <ac:spMkLst>
            <pc:docMk/>
            <pc:sldMk cId="309742093" sldId="900"/>
            <ac:spMk id="95" creationId="{C6E1E03F-56A7-4556-99B7-503FE7674D37}"/>
          </ac:spMkLst>
        </pc:spChg>
        <pc:spChg chg="add del mod">
          <ac:chgData name="Heininen Antti" userId="b3f08c9e-4b6a-48e9-a186-9b2511e5fd7e" providerId="ADAL" clId="{051EB65B-0F12-4A36-96F2-246D0E8AB412}" dt="2022-04-25T08:03:30.955" v="229"/>
          <ac:spMkLst>
            <pc:docMk/>
            <pc:sldMk cId="309742093" sldId="900"/>
            <ac:spMk id="96" creationId="{88F9BA4C-FC5E-42F3-B7D9-3983F82F9B99}"/>
          </ac:spMkLst>
        </pc:spChg>
        <pc:spChg chg="add del mod">
          <ac:chgData name="Heininen Antti" userId="b3f08c9e-4b6a-48e9-a186-9b2511e5fd7e" providerId="ADAL" clId="{051EB65B-0F12-4A36-96F2-246D0E8AB412}" dt="2022-04-25T08:03:30.955" v="229"/>
          <ac:spMkLst>
            <pc:docMk/>
            <pc:sldMk cId="309742093" sldId="900"/>
            <ac:spMk id="97" creationId="{FEE1E8F6-6E68-4C69-94A4-5560C66025A5}"/>
          </ac:spMkLst>
        </pc:spChg>
        <pc:spChg chg="add del mod">
          <ac:chgData name="Heininen Antti" userId="b3f08c9e-4b6a-48e9-a186-9b2511e5fd7e" providerId="ADAL" clId="{051EB65B-0F12-4A36-96F2-246D0E8AB412}" dt="2022-04-25T08:03:30.955" v="229"/>
          <ac:spMkLst>
            <pc:docMk/>
            <pc:sldMk cId="309742093" sldId="900"/>
            <ac:spMk id="99" creationId="{3029702A-6CC4-4E4C-A671-59E11E1F0457}"/>
          </ac:spMkLst>
        </pc:spChg>
        <pc:spChg chg="add del mod">
          <ac:chgData name="Heininen Antti" userId="b3f08c9e-4b6a-48e9-a186-9b2511e5fd7e" providerId="ADAL" clId="{051EB65B-0F12-4A36-96F2-246D0E8AB412}" dt="2022-04-25T08:03:30.955" v="229"/>
          <ac:spMkLst>
            <pc:docMk/>
            <pc:sldMk cId="309742093" sldId="900"/>
            <ac:spMk id="100" creationId="{98CDD935-65C4-4BEF-98FA-E70F41FCE16B}"/>
          </ac:spMkLst>
        </pc:spChg>
        <pc:spChg chg="add del mod">
          <ac:chgData name="Heininen Antti" userId="b3f08c9e-4b6a-48e9-a186-9b2511e5fd7e" providerId="ADAL" clId="{051EB65B-0F12-4A36-96F2-246D0E8AB412}" dt="2022-04-25T08:03:30.955" v="229"/>
          <ac:spMkLst>
            <pc:docMk/>
            <pc:sldMk cId="309742093" sldId="900"/>
            <ac:spMk id="101" creationId="{63A6DDCE-E2DD-426B-A34A-2D8BD73B37AE}"/>
          </ac:spMkLst>
        </pc:spChg>
        <pc:spChg chg="add del mod">
          <ac:chgData name="Heininen Antti" userId="b3f08c9e-4b6a-48e9-a186-9b2511e5fd7e" providerId="ADAL" clId="{051EB65B-0F12-4A36-96F2-246D0E8AB412}" dt="2022-04-25T08:03:30.955" v="229"/>
          <ac:spMkLst>
            <pc:docMk/>
            <pc:sldMk cId="309742093" sldId="900"/>
            <ac:spMk id="102" creationId="{78B4A58A-8E90-4856-93CA-AFD655A92D28}"/>
          </ac:spMkLst>
        </pc:spChg>
        <pc:spChg chg="add del mod">
          <ac:chgData name="Heininen Antti" userId="b3f08c9e-4b6a-48e9-a186-9b2511e5fd7e" providerId="ADAL" clId="{051EB65B-0F12-4A36-96F2-246D0E8AB412}" dt="2022-04-25T08:03:30.955" v="229"/>
          <ac:spMkLst>
            <pc:docMk/>
            <pc:sldMk cId="309742093" sldId="900"/>
            <ac:spMk id="103" creationId="{8766D16F-70E4-4082-801A-7C6565E15889}"/>
          </ac:spMkLst>
        </pc:spChg>
        <pc:spChg chg="mod">
          <ac:chgData name="Heininen Antti" userId="b3f08c9e-4b6a-48e9-a186-9b2511e5fd7e" providerId="ADAL" clId="{051EB65B-0F12-4A36-96F2-246D0E8AB412}" dt="2022-04-25T08:02:32.265" v="219" actId="20577"/>
          <ac:spMkLst>
            <pc:docMk/>
            <pc:sldMk cId="309742093" sldId="900"/>
            <ac:spMk id="105" creationId="{70955D9F-1512-465B-A689-803C431DA778}"/>
          </ac:spMkLst>
        </pc:spChg>
        <pc:spChg chg="mod ord">
          <ac:chgData name="Heininen Antti" userId="b3f08c9e-4b6a-48e9-a186-9b2511e5fd7e" providerId="ADAL" clId="{051EB65B-0F12-4A36-96F2-246D0E8AB412}" dt="2022-04-25T08:12:10.142" v="274" actId="1076"/>
          <ac:spMkLst>
            <pc:docMk/>
            <pc:sldMk cId="309742093" sldId="900"/>
            <ac:spMk id="106" creationId="{DF2BDBF0-4E78-4DA7-9E38-DC0BAA3DB0A6}"/>
          </ac:spMkLst>
        </pc:spChg>
        <pc:spChg chg="mod ord">
          <ac:chgData name="Heininen Antti" userId="b3f08c9e-4b6a-48e9-a186-9b2511e5fd7e" providerId="ADAL" clId="{051EB65B-0F12-4A36-96F2-246D0E8AB412}" dt="2022-04-25T08:12:14.754" v="275" actId="1076"/>
          <ac:spMkLst>
            <pc:docMk/>
            <pc:sldMk cId="309742093" sldId="900"/>
            <ac:spMk id="107" creationId="{EA39AEB4-CCE6-4723-9798-9DF6D5814641}"/>
          </ac:spMkLst>
        </pc:spChg>
        <pc:spChg chg="add del mod">
          <ac:chgData name="Heininen Antti" userId="b3f08c9e-4b6a-48e9-a186-9b2511e5fd7e" providerId="ADAL" clId="{051EB65B-0F12-4A36-96F2-246D0E8AB412}" dt="2022-04-25T08:03:30.955" v="229"/>
          <ac:spMkLst>
            <pc:docMk/>
            <pc:sldMk cId="309742093" sldId="900"/>
            <ac:spMk id="108" creationId="{01179CC2-3454-4605-9F2F-B02F83FB5AED}"/>
          </ac:spMkLst>
        </pc:spChg>
        <pc:spChg chg="add del mod">
          <ac:chgData name="Heininen Antti" userId="b3f08c9e-4b6a-48e9-a186-9b2511e5fd7e" providerId="ADAL" clId="{051EB65B-0F12-4A36-96F2-246D0E8AB412}" dt="2022-04-25T08:03:30.955" v="229"/>
          <ac:spMkLst>
            <pc:docMk/>
            <pc:sldMk cId="309742093" sldId="900"/>
            <ac:spMk id="109" creationId="{CACA92E7-8EAC-4809-8EE1-045BED2070B8}"/>
          </ac:spMkLst>
        </pc:spChg>
        <pc:spChg chg="add del mod">
          <ac:chgData name="Heininen Antti" userId="b3f08c9e-4b6a-48e9-a186-9b2511e5fd7e" providerId="ADAL" clId="{051EB65B-0F12-4A36-96F2-246D0E8AB412}" dt="2022-04-25T08:03:30.955" v="229"/>
          <ac:spMkLst>
            <pc:docMk/>
            <pc:sldMk cId="309742093" sldId="900"/>
            <ac:spMk id="110" creationId="{3CB6A371-A90C-456A-9E6F-B1DAF9BE3936}"/>
          </ac:spMkLst>
        </pc:spChg>
        <pc:spChg chg="add del mod">
          <ac:chgData name="Heininen Antti" userId="b3f08c9e-4b6a-48e9-a186-9b2511e5fd7e" providerId="ADAL" clId="{051EB65B-0F12-4A36-96F2-246D0E8AB412}" dt="2022-04-25T08:03:30.955" v="229"/>
          <ac:spMkLst>
            <pc:docMk/>
            <pc:sldMk cId="309742093" sldId="900"/>
            <ac:spMk id="111" creationId="{0EBB33FF-CC34-4280-B635-631D1290A193}"/>
          </ac:spMkLst>
        </pc:spChg>
        <pc:spChg chg="add del mod">
          <ac:chgData name="Heininen Antti" userId="b3f08c9e-4b6a-48e9-a186-9b2511e5fd7e" providerId="ADAL" clId="{051EB65B-0F12-4A36-96F2-246D0E8AB412}" dt="2022-04-25T08:03:30.955" v="229"/>
          <ac:spMkLst>
            <pc:docMk/>
            <pc:sldMk cId="309742093" sldId="900"/>
            <ac:spMk id="112" creationId="{B1FE63E4-E3D6-4B2C-A077-76DFE14EF7F9}"/>
          </ac:spMkLst>
        </pc:spChg>
        <pc:spChg chg="add del mod">
          <ac:chgData name="Heininen Antti" userId="b3f08c9e-4b6a-48e9-a186-9b2511e5fd7e" providerId="ADAL" clId="{051EB65B-0F12-4A36-96F2-246D0E8AB412}" dt="2022-04-25T08:03:30.955" v="229"/>
          <ac:spMkLst>
            <pc:docMk/>
            <pc:sldMk cId="309742093" sldId="900"/>
            <ac:spMk id="113" creationId="{16A306C6-EA75-459B-B840-EF21B1F50F95}"/>
          </ac:spMkLst>
        </pc:spChg>
        <pc:spChg chg="add del mod">
          <ac:chgData name="Heininen Antti" userId="b3f08c9e-4b6a-48e9-a186-9b2511e5fd7e" providerId="ADAL" clId="{051EB65B-0F12-4A36-96F2-246D0E8AB412}" dt="2022-04-25T08:03:30.955" v="229"/>
          <ac:spMkLst>
            <pc:docMk/>
            <pc:sldMk cId="309742093" sldId="900"/>
            <ac:spMk id="114" creationId="{D2198AE2-850B-469D-91A8-5255F44B70FC}"/>
          </ac:spMkLst>
        </pc:spChg>
        <pc:spChg chg="add del mod">
          <ac:chgData name="Heininen Antti" userId="b3f08c9e-4b6a-48e9-a186-9b2511e5fd7e" providerId="ADAL" clId="{051EB65B-0F12-4A36-96F2-246D0E8AB412}" dt="2022-04-25T08:03:30.955" v="229"/>
          <ac:spMkLst>
            <pc:docMk/>
            <pc:sldMk cId="309742093" sldId="900"/>
            <ac:spMk id="115" creationId="{066A7EEE-1B78-4342-A322-BC0C6AEB46BE}"/>
          </ac:spMkLst>
        </pc:spChg>
        <pc:spChg chg="add del mod">
          <ac:chgData name="Heininen Antti" userId="b3f08c9e-4b6a-48e9-a186-9b2511e5fd7e" providerId="ADAL" clId="{051EB65B-0F12-4A36-96F2-246D0E8AB412}" dt="2022-04-25T08:03:30.955" v="229"/>
          <ac:spMkLst>
            <pc:docMk/>
            <pc:sldMk cId="309742093" sldId="900"/>
            <ac:spMk id="117" creationId="{1D1DBA02-4050-4870-BEEE-B901B869B196}"/>
          </ac:spMkLst>
        </pc:spChg>
        <pc:spChg chg="add mod ord">
          <ac:chgData name="Heininen Antti" userId="b3f08c9e-4b6a-48e9-a186-9b2511e5fd7e" providerId="ADAL" clId="{051EB65B-0F12-4A36-96F2-246D0E8AB412}" dt="2022-04-25T08:11:37.636" v="267" actId="166"/>
          <ac:spMkLst>
            <pc:docMk/>
            <pc:sldMk cId="309742093" sldId="900"/>
            <ac:spMk id="120" creationId="{38DD4AAD-A954-44CA-8580-B5E63BB205A7}"/>
          </ac:spMkLst>
        </pc:spChg>
        <pc:spChg chg="add mod">
          <ac:chgData name="Heininen Antti" userId="b3f08c9e-4b6a-48e9-a186-9b2511e5fd7e" providerId="ADAL" clId="{051EB65B-0F12-4A36-96F2-246D0E8AB412}" dt="2022-04-25T08:11:51.834" v="271" actId="1076"/>
          <ac:spMkLst>
            <pc:docMk/>
            <pc:sldMk cId="309742093" sldId="900"/>
            <ac:spMk id="121" creationId="{339286C7-3EFF-4B7E-8CC1-02B14D7EBDCF}"/>
          </ac:spMkLst>
        </pc:spChg>
        <pc:graphicFrameChg chg="add del mod">
          <ac:chgData name="Heininen Antti" userId="b3f08c9e-4b6a-48e9-a186-9b2511e5fd7e" providerId="ADAL" clId="{051EB65B-0F12-4A36-96F2-246D0E8AB412}" dt="2022-04-25T08:02:50.455" v="221"/>
          <ac:graphicFrameMkLst>
            <pc:docMk/>
            <pc:sldMk cId="309742093" sldId="900"/>
            <ac:graphicFrameMk id="23" creationId="{A9787BC4-08FE-42F6-9611-D492D4142C5E}"/>
          </ac:graphicFrameMkLst>
        </pc:graphicFrameChg>
        <pc:graphicFrameChg chg="add del mod">
          <ac:chgData name="Heininen Antti" userId="b3f08c9e-4b6a-48e9-a186-9b2511e5fd7e" providerId="ADAL" clId="{051EB65B-0F12-4A36-96F2-246D0E8AB412}" dt="2022-04-25T08:03:30.955" v="229"/>
          <ac:graphicFrameMkLst>
            <pc:docMk/>
            <pc:sldMk cId="309742093" sldId="900"/>
            <ac:graphicFrameMk id="116" creationId="{98BB658A-5BFA-40D6-8479-976C725F9432}"/>
          </ac:graphicFrameMkLst>
        </pc:graphicFrameChg>
        <pc:picChg chg="add mod ord">
          <ac:chgData name="Heininen Antti" userId="b3f08c9e-4b6a-48e9-a186-9b2511e5fd7e" providerId="ADAL" clId="{051EB65B-0F12-4A36-96F2-246D0E8AB412}" dt="2022-04-25T08:11:42.595" v="270" actId="1076"/>
          <ac:picMkLst>
            <pc:docMk/>
            <pc:sldMk cId="309742093" sldId="900"/>
            <ac:picMk id="4" creationId="{7179057C-20B0-43BF-BFED-8E7B149D3AFF}"/>
          </ac:picMkLst>
        </pc:picChg>
        <pc:picChg chg="add mod ord">
          <ac:chgData name="Heininen Antti" userId="b3f08c9e-4b6a-48e9-a186-9b2511e5fd7e" providerId="ADAL" clId="{051EB65B-0F12-4A36-96F2-246D0E8AB412}" dt="2022-04-25T08:03:45.168" v="233" actId="167"/>
          <ac:picMkLst>
            <pc:docMk/>
            <pc:sldMk cId="309742093" sldId="900"/>
            <ac:picMk id="5" creationId="{255B2D87-C27F-4423-A4E5-F08F2DC459C5}"/>
          </ac:picMkLst>
        </pc:picChg>
        <pc:picChg chg="add del mod">
          <ac:chgData name="Heininen Antti" userId="b3f08c9e-4b6a-48e9-a186-9b2511e5fd7e" providerId="ADAL" clId="{051EB65B-0F12-4A36-96F2-246D0E8AB412}" dt="2022-04-25T08:02:50.455" v="221"/>
          <ac:picMkLst>
            <pc:docMk/>
            <pc:sldMk cId="309742093" sldId="900"/>
            <ac:picMk id="9" creationId="{566741D6-623D-499D-A0C5-640AEAB5D6BF}"/>
          </ac:picMkLst>
        </pc:picChg>
        <pc:picChg chg="add del mod">
          <ac:chgData name="Heininen Antti" userId="b3f08c9e-4b6a-48e9-a186-9b2511e5fd7e" providerId="ADAL" clId="{051EB65B-0F12-4A36-96F2-246D0E8AB412}" dt="2022-04-25T08:02:50.455" v="221"/>
          <ac:picMkLst>
            <pc:docMk/>
            <pc:sldMk cId="309742093" sldId="900"/>
            <ac:picMk id="19" creationId="{26E942B8-DB74-408E-A3E6-9B7AD66767F2}"/>
          </ac:picMkLst>
        </pc:picChg>
        <pc:picChg chg="add del mod">
          <ac:chgData name="Heininen Antti" userId="b3f08c9e-4b6a-48e9-a186-9b2511e5fd7e" providerId="ADAL" clId="{051EB65B-0F12-4A36-96F2-246D0E8AB412}" dt="2022-04-25T08:02:50.455" v="221"/>
          <ac:picMkLst>
            <pc:docMk/>
            <pc:sldMk cId="309742093" sldId="900"/>
            <ac:picMk id="25" creationId="{4ADAC582-98A5-4389-A0D9-A5FF500B3B49}"/>
          </ac:picMkLst>
        </pc:picChg>
        <pc:picChg chg="del">
          <ac:chgData name="Heininen Antti" userId="b3f08c9e-4b6a-48e9-a186-9b2511e5fd7e" providerId="ADAL" clId="{051EB65B-0F12-4A36-96F2-246D0E8AB412}" dt="2022-04-25T08:03:14.245" v="227" actId="478"/>
          <ac:picMkLst>
            <pc:docMk/>
            <pc:sldMk cId="309742093" sldId="900"/>
            <ac:picMk id="53" creationId="{5BEA0FE9-116F-42AE-8B03-0EE276462700}"/>
          </ac:picMkLst>
        </pc:picChg>
        <pc:picChg chg="add del mod">
          <ac:chgData name="Heininen Antti" userId="b3f08c9e-4b6a-48e9-a186-9b2511e5fd7e" providerId="ADAL" clId="{051EB65B-0F12-4A36-96F2-246D0E8AB412}" dt="2022-04-25T08:03:30.955" v="229"/>
          <ac:picMkLst>
            <pc:docMk/>
            <pc:sldMk cId="309742093" sldId="900"/>
            <ac:picMk id="63" creationId="{4212E7AE-154C-455D-97DF-8A0BDBC523C3}"/>
          </ac:picMkLst>
        </pc:picChg>
        <pc:picChg chg="add del mod">
          <ac:chgData name="Heininen Antti" userId="b3f08c9e-4b6a-48e9-a186-9b2511e5fd7e" providerId="ADAL" clId="{051EB65B-0F12-4A36-96F2-246D0E8AB412}" dt="2022-04-25T08:03:30.955" v="229"/>
          <ac:picMkLst>
            <pc:docMk/>
            <pc:sldMk cId="309742093" sldId="900"/>
            <ac:picMk id="70" creationId="{2E63CDAF-99CA-4211-8AA8-40B3A2DB3748}"/>
          </ac:picMkLst>
        </pc:picChg>
        <pc:picChg chg="add del mod">
          <ac:chgData name="Heininen Antti" userId="b3f08c9e-4b6a-48e9-a186-9b2511e5fd7e" providerId="ADAL" clId="{051EB65B-0F12-4A36-96F2-246D0E8AB412}" dt="2022-04-25T08:03:30.955" v="229"/>
          <ac:picMkLst>
            <pc:docMk/>
            <pc:sldMk cId="309742093" sldId="900"/>
            <ac:picMk id="75" creationId="{AF4FA5C1-B453-48D4-AD5A-538B8A56DDD3}"/>
          </ac:picMkLst>
        </pc:picChg>
        <pc:picChg chg="del">
          <ac:chgData name="Heininen Antti" userId="b3f08c9e-4b6a-48e9-a186-9b2511e5fd7e" providerId="ADAL" clId="{051EB65B-0F12-4A36-96F2-246D0E8AB412}" dt="2022-04-25T08:03:46.399" v="234" actId="478"/>
          <ac:picMkLst>
            <pc:docMk/>
            <pc:sldMk cId="309742093" sldId="900"/>
            <ac:picMk id="104" creationId="{BD53DE18-8AC2-426F-A786-F9E4598434E7}"/>
          </ac:picMkLst>
        </pc:picChg>
        <pc:cxnChg chg="add del mod">
          <ac:chgData name="Heininen Antti" userId="b3f08c9e-4b6a-48e9-a186-9b2511e5fd7e" providerId="ADAL" clId="{051EB65B-0F12-4A36-96F2-246D0E8AB412}" dt="2022-04-25T08:02:50.455" v="221"/>
          <ac:cxnSpMkLst>
            <pc:docMk/>
            <pc:sldMk cId="309742093" sldId="900"/>
            <ac:cxnSpMk id="18" creationId="{B6EA7ADE-6EB4-4848-BEA0-57BADCEE9BC0}"/>
          </ac:cxnSpMkLst>
        </pc:cxnChg>
        <pc:cxnChg chg="add del mod">
          <ac:chgData name="Heininen Antti" userId="b3f08c9e-4b6a-48e9-a186-9b2511e5fd7e" providerId="ADAL" clId="{051EB65B-0F12-4A36-96F2-246D0E8AB412}" dt="2022-04-25T08:02:50.455" v="221"/>
          <ac:cxnSpMkLst>
            <pc:docMk/>
            <pc:sldMk cId="309742093" sldId="900"/>
            <ac:cxnSpMk id="24" creationId="{661AE9F9-4871-401F-87A4-F5D845D8CBA2}"/>
          </ac:cxnSpMkLst>
        </pc:cxnChg>
        <pc:cxnChg chg="add del mod">
          <ac:chgData name="Heininen Antti" userId="b3f08c9e-4b6a-48e9-a186-9b2511e5fd7e" providerId="ADAL" clId="{051EB65B-0F12-4A36-96F2-246D0E8AB412}" dt="2022-04-25T08:02:50.455" v="221"/>
          <ac:cxnSpMkLst>
            <pc:docMk/>
            <pc:sldMk cId="309742093" sldId="900"/>
            <ac:cxnSpMk id="26" creationId="{BD90A942-4B68-459D-A841-81D11DFFD6FD}"/>
          </ac:cxnSpMkLst>
        </pc:cxnChg>
        <pc:cxnChg chg="add del mod">
          <ac:chgData name="Heininen Antti" userId="b3f08c9e-4b6a-48e9-a186-9b2511e5fd7e" providerId="ADAL" clId="{051EB65B-0F12-4A36-96F2-246D0E8AB412}" dt="2022-04-25T08:02:50.455" v="221"/>
          <ac:cxnSpMkLst>
            <pc:docMk/>
            <pc:sldMk cId="309742093" sldId="900"/>
            <ac:cxnSpMk id="31" creationId="{2B3A2288-DC06-4BE8-AC8B-E5DEF15D82E5}"/>
          </ac:cxnSpMkLst>
        </pc:cxnChg>
        <pc:cxnChg chg="add del mod">
          <ac:chgData name="Heininen Antti" userId="b3f08c9e-4b6a-48e9-a186-9b2511e5fd7e" providerId="ADAL" clId="{051EB65B-0F12-4A36-96F2-246D0E8AB412}" dt="2022-04-25T08:02:50.455" v="221"/>
          <ac:cxnSpMkLst>
            <pc:docMk/>
            <pc:sldMk cId="309742093" sldId="900"/>
            <ac:cxnSpMk id="33" creationId="{21140463-03B6-49C4-906E-33F26AD51ECA}"/>
          </ac:cxnSpMkLst>
        </pc:cxnChg>
        <pc:cxnChg chg="add del mod">
          <ac:chgData name="Heininen Antti" userId="b3f08c9e-4b6a-48e9-a186-9b2511e5fd7e" providerId="ADAL" clId="{051EB65B-0F12-4A36-96F2-246D0E8AB412}" dt="2022-04-25T08:02:50.455" v="221"/>
          <ac:cxnSpMkLst>
            <pc:docMk/>
            <pc:sldMk cId="309742093" sldId="900"/>
            <ac:cxnSpMk id="34" creationId="{5688F426-6AE1-4F9B-88E7-2D56264599D6}"/>
          </ac:cxnSpMkLst>
        </pc:cxnChg>
        <pc:cxnChg chg="add del mod">
          <ac:chgData name="Heininen Antti" userId="b3f08c9e-4b6a-48e9-a186-9b2511e5fd7e" providerId="ADAL" clId="{051EB65B-0F12-4A36-96F2-246D0E8AB412}" dt="2022-04-25T08:02:50.455" v="221"/>
          <ac:cxnSpMkLst>
            <pc:docMk/>
            <pc:sldMk cId="309742093" sldId="900"/>
            <ac:cxnSpMk id="40" creationId="{C744CE32-5B61-45A6-8686-3D1657760836}"/>
          </ac:cxnSpMkLst>
        </pc:cxnChg>
        <pc:cxnChg chg="add del mod">
          <ac:chgData name="Heininen Antti" userId="b3f08c9e-4b6a-48e9-a186-9b2511e5fd7e" providerId="ADAL" clId="{051EB65B-0F12-4A36-96F2-246D0E8AB412}" dt="2022-04-25T08:02:50.455" v="221"/>
          <ac:cxnSpMkLst>
            <pc:docMk/>
            <pc:sldMk cId="309742093" sldId="900"/>
            <ac:cxnSpMk id="41" creationId="{A65EDEBD-252A-4916-A193-1D0D870562E4}"/>
          </ac:cxnSpMkLst>
        </pc:cxnChg>
        <pc:cxnChg chg="add del mod">
          <ac:chgData name="Heininen Antti" userId="b3f08c9e-4b6a-48e9-a186-9b2511e5fd7e" providerId="ADAL" clId="{051EB65B-0F12-4A36-96F2-246D0E8AB412}" dt="2022-04-25T08:02:50.455" v="221"/>
          <ac:cxnSpMkLst>
            <pc:docMk/>
            <pc:sldMk cId="309742093" sldId="900"/>
            <ac:cxnSpMk id="52" creationId="{45E7D1FE-FF7C-4553-80FD-1FD940A6B244}"/>
          </ac:cxnSpMkLst>
        </pc:cxnChg>
        <pc:cxnChg chg="add del mod">
          <ac:chgData name="Heininen Antti" userId="b3f08c9e-4b6a-48e9-a186-9b2511e5fd7e" providerId="ADAL" clId="{051EB65B-0F12-4A36-96F2-246D0E8AB412}" dt="2022-04-25T08:02:50.455" v="221"/>
          <ac:cxnSpMkLst>
            <pc:docMk/>
            <pc:sldMk cId="309742093" sldId="900"/>
            <ac:cxnSpMk id="54" creationId="{07349E43-1D17-4B5C-BCB6-6FA339849596}"/>
          </ac:cxnSpMkLst>
        </pc:cxnChg>
        <pc:cxnChg chg="add del mod">
          <ac:chgData name="Heininen Antti" userId="b3f08c9e-4b6a-48e9-a186-9b2511e5fd7e" providerId="ADAL" clId="{051EB65B-0F12-4A36-96F2-246D0E8AB412}" dt="2022-04-25T08:03:30.955" v="229"/>
          <ac:cxnSpMkLst>
            <pc:docMk/>
            <pc:sldMk cId="309742093" sldId="900"/>
            <ac:cxnSpMk id="69" creationId="{E806B49A-1F8B-4595-8EC7-66C9984A0810}"/>
          </ac:cxnSpMkLst>
        </pc:cxnChg>
        <pc:cxnChg chg="add del mod">
          <ac:chgData name="Heininen Antti" userId="b3f08c9e-4b6a-48e9-a186-9b2511e5fd7e" providerId="ADAL" clId="{051EB65B-0F12-4A36-96F2-246D0E8AB412}" dt="2022-04-25T08:03:30.955" v="229"/>
          <ac:cxnSpMkLst>
            <pc:docMk/>
            <pc:sldMk cId="309742093" sldId="900"/>
            <ac:cxnSpMk id="74" creationId="{BDAEEC3B-11C4-4BF3-BAB0-539B911AF6D3}"/>
          </ac:cxnSpMkLst>
        </pc:cxnChg>
        <pc:cxnChg chg="add del mod">
          <ac:chgData name="Heininen Antti" userId="b3f08c9e-4b6a-48e9-a186-9b2511e5fd7e" providerId="ADAL" clId="{051EB65B-0F12-4A36-96F2-246D0E8AB412}" dt="2022-04-25T08:03:30.955" v="229"/>
          <ac:cxnSpMkLst>
            <pc:docMk/>
            <pc:sldMk cId="309742093" sldId="900"/>
            <ac:cxnSpMk id="76" creationId="{87FED1F2-6D47-46E5-8A9B-5A0093B43CE4}"/>
          </ac:cxnSpMkLst>
        </pc:cxnChg>
        <pc:cxnChg chg="add del mod">
          <ac:chgData name="Heininen Antti" userId="b3f08c9e-4b6a-48e9-a186-9b2511e5fd7e" providerId="ADAL" clId="{051EB65B-0F12-4A36-96F2-246D0E8AB412}" dt="2022-04-25T08:03:30.955" v="229"/>
          <ac:cxnSpMkLst>
            <pc:docMk/>
            <pc:sldMk cId="309742093" sldId="900"/>
            <ac:cxnSpMk id="80" creationId="{08249D3D-D7D7-4F49-A398-A8C62169CD4F}"/>
          </ac:cxnSpMkLst>
        </pc:cxnChg>
        <pc:cxnChg chg="add del mod">
          <ac:chgData name="Heininen Antti" userId="b3f08c9e-4b6a-48e9-a186-9b2511e5fd7e" providerId="ADAL" clId="{051EB65B-0F12-4A36-96F2-246D0E8AB412}" dt="2022-04-25T08:03:30.955" v="229"/>
          <ac:cxnSpMkLst>
            <pc:docMk/>
            <pc:sldMk cId="309742093" sldId="900"/>
            <ac:cxnSpMk id="82" creationId="{4CF8ECC9-35F1-4934-9C0A-74236D49BEAC}"/>
          </ac:cxnSpMkLst>
        </pc:cxnChg>
        <pc:cxnChg chg="add del mod">
          <ac:chgData name="Heininen Antti" userId="b3f08c9e-4b6a-48e9-a186-9b2511e5fd7e" providerId="ADAL" clId="{051EB65B-0F12-4A36-96F2-246D0E8AB412}" dt="2022-04-25T08:03:30.955" v="229"/>
          <ac:cxnSpMkLst>
            <pc:docMk/>
            <pc:sldMk cId="309742093" sldId="900"/>
            <ac:cxnSpMk id="84" creationId="{6059FF34-7637-41EF-832A-3A51154552A2}"/>
          </ac:cxnSpMkLst>
        </pc:cxnChg>
        <pc:cxnChg chg="add del mod">
          <ac:chgData name="Heininen Antti" userId="b3f08c9e-4b6a-48e9-a186-9b2511e5fd7e" providerId="ADAL" clId="{051EB65B-0F12-4A36-96F2-246D0E8AB412}" dt="2022-04-25T08:03:30.955" v="229"/>
          <ac:cxnSpMkLst>
            <pc:docMk/>
            <pc:sldMk cId="309742093" sldId="900"/>
            <ac:cxnSpMk id="90" creationId="{3FDBB559-1085-4A7F-B57C-C6E547DB8CD1}"/>
          </ac:cxnSpMkLst>
        </pc:cxnChg>
        <pc:cxnChg chg="add del mod">
          <ac:chgData name="Heininen Antti" userId="b3f08c9e-4b6a-48e9-a186-9b2511e5fd7e" providerId="ADAL" clId="{051EB65B-0F12-4A36-96F2-246D0E8AB412}" dt="2022-04-25T08:03:30.955" v="229"/>
          <ac:cxnSpMkLst>
            <pc:docMk/>
            <pc:sldMk cId="309742093" sldId="900"/>
            <ac:cxnSpMk id="91" creationId="{617EFB91-FF61-4CF6-AA0F-8286D60243D6}"/>
          </ac:cxnSpMkLst>
        </pc:cxnChg>
        <pc:cxnChg chg="add del mod">
          <ac:chgData name="Heininen Antti" userId="b3f08c9e-4b6a-48e9-a186-9b2511e5fd7e" providerId="ADAL" clId="{051EB65B-0F12-4A36-96F2-246D0E8AB412}" dt="2022-04-25T08:03:30.955" v="229"/>
          <ac:cxnSpMkLst>
            <pc:docMk/>
            <pc:sldMk cId="309742093" sldId="900"/>
            <ac:cxnSpMk id="98" creationId="{252B7A73-A8D0-4CF8-BD86-935F1B292C69}"/>
          </ac:cxnSpMkLst>
        </pc:cxnChg>
        <pc:cxnChg chg="add del mod">
          <ac:chgData name="Heininen Antti" userId="b3f08c9e-4b6a-48e9-a186-9b2511e5fd7e" providerId="ADAL" clId="{051EB65B-0F12-4A36-96F2-246D0E8AB412}" dt="2022-04-25T08:03:30.955" v="229"/>
          <ac:cxnSpMkLst>
            <pc:docMk/>
            <pc:sldMk cId="309742093" sldId="900"/>
            <ac:cxnSpMk id="118" creationId="{54BA4AA0-6BC2-4291-9221-3E4A6F47DA1A}"/>
          </ac:cxnSpMkLst>
        </pc:cxnChg>
        <pc:cxnChg chg="add del mod">
          <ac:chgData name="Heininen Antti" userId="b3f08c9e-4b6a-48e9-a186-9b2511e5fd7e" providerId="ADAL" clId="{051EB65B-0F12-4A36-96F2-246D0E8AB412}" dt="2022-04-25T08:03:30.955" v="229"/>
          <ac:cxnSpMkLst>
            <pc:docMk/>
            <pc:sldMk cId="309742093" sldId="900"/>
            <ac:cxnSpMk id="119" creationId="{B425B6A8-19D8-4419-BFCE-EA01C65A32D1}"/>
          </ac:cxnSpMkLst>
        </pc:cxnChg>
      </pc:sldChg>
    </pc:docChg>
  </pc:docChgLst>
  <pc:docChgLst>
    <pc:chgData name="Tuominen Mika" userId="S::mika.tuominen@destia.fi::5e1fd4a1-95ad-4d03-8f0c-9aba2db27dce" providerId="AD" clId="Web-{81154E66-771C-47B7-9B4E-681D488BA969}"/>
    <pc:docChg chg="modSld">
      <pc:chgData name="Tuominen Mika" userId="S::mika.tuominen@destia.fi::5e1fd4a1-95ad-4d03-8f0c-9aba2db27dce" providerId="AD" clId="Web-{81154E66-771C-47B7-9B4E-681D488BA969}" dt="2022-04-26T07:19:27.432" v="79"/>
      <pc:docMkLst>
        <pc:docMk/>
      </pc:docMkLst>
      <pc:sldChg chg="modSp">
        <pc:chgData name="Tuominen Mika" userId="S::mika.tuominen@destia.fi::5e1fd4a1-95ad-4d03-8f0c-9aba2db27dce" providerId="AD" clId="Web-{81154E66-771C-47B7-9B4E-681D488BA969}" dt="2022-04-26T07:10:25.370" v="20"/>
        <pc:sldMkLst>
          <pc:docMk/>
          <pc:sldMk cId="473415795" sldId="884"/>
        </pc:sldMkLst>
        <pc:graphicFrameChg chg="mod modGraphic">
          <ac:chgData name="Tuominen Mika" userId="S::mika.tuominen@destia.fi::5e1fd4a1-95ad-4d03-8f0c-9aba2db27dce" providerId="AD" clId="Web-{81154E66-771C-47B7-9B4E-681D488BA969}" dt="2022-04-26T07:10:25.370" v="20"/>
          <ac:graphicFrameMkLst>
            <pc:docMk/>
            <pc:sldMk cId="473415795" sldId="884"/>
            <ac:graphicFrameMk id="7" creationId="{6EC0E01C-94B1-4E5A-BB8E-D9B96FAE7C8F}"/>
          </ac:graphicFrameMkLst>
        </pc:graphicFrameChg>
      </pc:sldChg>
      <pc:sldChg chg="modSp">
        <pc:chgData name="Tuominen Mika" userId="S::mika.tuominen@destia.fi::5e1fd4a1-95ad-4d03-8f0c-9aba2db27dce" providerId="AD" clId="Web-{81154E66-771C-47B7-9B4E-681D488BA969}" dt="2022-04-26T07:19:27.432" v="79"/>
        <pc:sldMkLst>
          <pc:docMk/>
          <pc:sldMk cId="3259048369" sldId="885"/>
        </pc:sldMkLst>
        <pc:graphicFrameChg chg="mod modGraphic">
          <ac:chgData name="Tuominen Mika" userId="S::mika.tuominen@destia.fi::5e1fd4a1-95ad-4d03-8f0c-9aba2db27dce" providerId="AD" clId="Web-{81154E66-771C-47B7-9B4E-681D488BA969}" dt="2022-04-26T07:19:27.432" v="79"/>
          <ac:graphicFrameMkLst>
            <pc:docMk/>
            <pc:sldMk cId="3259048369" sldId="885"/>
            <ac:graphicFrameMk id="6" creationId="{77A30018-7F08-4438-8B69-E9B31B26B445}"/>
          </ac:graphicFrameMkLst>
        </pc:graphicFrameChg>
        <pc:graphicFrameChg chg="mod modGraphic">
          <ac:chgData name="Tuominen Mika" userId="S::mika.tuominen@destia.fi::5e1fd4a1-95ad-4d03-8f0c-9aba2db27dce" providerId="AD" clId="Web-{81154E66-771C-47B7-9B4E-681D488BA969}" dt="2022-04-26T07:10:40.840" v="24"/>
          <ac:graphicFrameMkLst>
            <pc:docMk/>
            <pc:sldMk cId="3259048369" sldId="885"/>
            <ac:graphicFrameMk id="11" creationId="{2ABF6130-93CF-4A96-A540-849ACF411658}"/>
          </ac:graphicFrameMkLst>
        </pc:graphicFrameChg>
      </pc:sldChg>
      <pc:sldChg chg="modSp">
        <pc:chgData name="Tuominen Mika" userId="S::mika.tuominen@destia.fi::5e1fd4a1-95ad-4d03-8f0c-9aba2db27dce" providerId="AD" clId="Web-{81154E66-771C-47B7-9B4E-681D488BA969}" dt="2022-04-26T07:11:07.388" v="28" actId="1076"/>
        <pc:sldMkLst>
          <pc:docMk/>
          <pc:sldMk cId="2097587847" sldId="886"/>
        </pc:sldMkLst>
        <pc:spChg chg="mod">
          <ac:chgData name="Tuominen Mika" userId="S::mika.tuominen@destia.fi::5e1fd4a1-95ad-4d03-8f0c-9aba2db27dce" providerId="AD" clId="Web-{81154E66-771C-47B7-9B4E-681D488BA969}" dt="2022-04-26T07:11:07.388" v="28" actId="1076"/>
          <ac:spMkLst>
            <pc:docMk/>
            <pc:sldMk cId="2097587847" sldId="886"/>
            <ac:spMk id="6" creationId="{920EFF6B-9ABA-4E74-AC1D-F1CB7408B5F8}"/>
          </ac:spMkLst>
        </pc:spChg>
      </pc:sldChg>
      <pc:sldChg chg="modSp">
        <pc:chgData name="Tuominen Mika" userId="S::mika.tuominen@destia.fi::5e1fd4a1-95ad-4d03-8f0c-9aba2db27dce" providerId="AD" clId="Web-{81154E66-771C-47B7-9B4E-681D488BA969}" dt="2022-04-26T07:16:27.750" v="37"/>
        <pc:sldMkLst>
          <pc:docMk/>
          <pc:sldMk cId="2985643524" sldId="887"/>
        </pc:sldMkLst>
        <pc:graphicFrameChg chg="mod modGraphic">
          <ac:chgData name="Tuominen Mika" userId="S::mika.tuominen@destia.fi::5e1fd4a1-95ad-4d03-8f0c-9aba2db27dce" providerId="AD" clId="Web-{81154E66-771C-47B7-9B4E-681D488BA969}" dt="2022-04-26T07:16:27.750" v="37"/>
          <ac:graphicFrameMkLst>
            <pc:docMk/>
            <pc:sldMk cId="2985643524" sldId="887"/>
            <ac:graphicFrameMk id="6" creationId="{77A30018-7F08-4438-8B69-E9B31B26B445}"/>
          </ac:graphicFrameMkLst>
        </pc:graphicFrameChg>
        <pc:graphicFrameChg chg="mod modGraphic">
          <ac:chgData name="Tuominen Mika" userId="S::mika.tuominen@destia.fi::5e1fd4a1-95ad-4d03-8f0c-9aba2db27dce" providerId="AD" clId="Web-{81154E66-771C-47B7-9B4E-681D488BA969}" dt="2022-04-26T07:10:33.089" v="22"/>
          <ac:graphicFrameMkLst>
            <pc:docMk/>
            <pc:sldMk cId="2985643524" sldId="887"/>
            <ac:graphicFrameMk id="11" creationId="{0EA7FF67-1691-4448-8197-74EB6BAB8DAF}"/>
          </ac:graphicFrameMkLst>
        </pc:graphicFrameChg>
      </pc:sldChg>
      <pc:sldChg chg="modSp">
        <pc:chgData name="Tuominen Mika" userId="S::mika.tuominen@destia.fi::5e1fd4a1-95ad-4d03-8f0c-9aba2db27dce" providerId="AD" clId="Web-{81154E66-771C-47B7-9B4E-681D488BA969}" dt="2022-04-26T06:57:44.172" v="16" actId="1076"/>
        <pc:sldMkLst>
          <pc:docMk/>
          <pc:sldMk cId="1239292556" sldId="898"/>
        </pc:sldMkLst>
        <pc:spChg chg="mod">
          <ac:chgData name="Tuominen Mika" userId="S::mika.tuominen@destia.fi::5e1fd4a1-95ad-4d03-8f0c-9aba2db27dce" providerId="AD" clId="Web-{81154E66-771C-47B7-9B4E-681D488BA969}" dt="2022-04-26T06:57:44.172" v="16" actId="1076"/>
          <ac:spMkLst>
            <pc:docMk/>
            <pc:sldMk cId="1239292556" sldId="898"/>
            <ac:spMk id="3" creationId="{EDFC2764-FCDB-478E-AB63-812076004651}"/>
          </ac:spMkLst>
        </pc:spChg>
      </pc:sldChg>
    </pc:docChg>
  </pc:docChgLst>
  <pc:docChgLst>
    <pc:chgData name="Nissinen Elina" userId="S::elina.nissinen_ii.fi#ext#@destia.onmicrosoft.com::da71c1a5-6df0-4545-a6f9-a17a12d73b1e" providerId="AD" clId="Web-{751EA85F-D747-40FE-AB3E-4F98DDAE3F54}"/>
    <pc:docChg chg="addSld modSld sldOrd">
      <pc:chgData name="Nissinen Elina" userId="S::elina.nissinen_ii.fi#ext#@destia.onmicrosoft.com::da71c1a5-6df0-4545-a6f9-a17a12d73b1e" providerId="AD" clId="Web-{751EA85F-D747-40FE-AB3E-4F98DDAE3F54}" dt="2022-04-24T09:53:42.142" v="48"/>
      <pc:docMkLst>
        <pc:docMk/>
      </pc:docMkLst>
      <pc:sldChg chg="modSp">
        <pc:chgData name="Nissinen Elina" userId="S::elina.nissinen_ii.fi#ext#@destia.onmicrosoft.com::da71c1a5-6df0-4545-a6f9-a17a12d73b1e" providerId="AD" clId="Web-{751EA85F-D747-40FE-AB3E-4F98DDAE3F54}" dt="2022-04-24T09:45:02.492" v="2" actId="20577"/>
        <pc:sldMkLst>
          <pc:docMk/>
          <pc:sldMk cId="1399410474" sldId="374"/>
        </pc:sldMkLst>
        <pc:spChg chg="mod">
          <ac:chgData name="Nissinen Elina" userId="S::elina.nissinen_ii.fi#ext#@destia.onmicrosoft.com::da71c1a5-6df0-4545-a6f9-a17a12d73b1e" providerId="AD" clId="Web-{751EA85F-D747-40FE-AB3E-4F98DDAE3F54}" dt="2022-04-24T09:45:02.492" v="2" actId="20577"/>
          <ac:spMkLst>
            <pc:docMk/>
            <pc:sldMk cId="1399410474" sldId="374"/>
            <ac:spMk id="2" creationId="{00000000-0000-0000-0000-000000000000}"/>
          </ac:spMkLst>
        </pc:spChg>
      </pc:sldChg>
      <pc:sldChg chg="ord">
        <pc:chgData name="Nissinen Elina" userId="S::elina.nissinen_ii.fi#ext#@destia.onmicrosoft.com::da71c1a5-6df0-4545-a6f9-a17a12d73b1e" providerId="AD" clId="Web-{751EA85F-D747-40FE-AB3E-4F98DDAE3F54}" dt="2022-04-24T09:53:42.142" v="48"/>
        <pc:sldMkLst>
          <pc:docMk/>
          <pc:sldMk cId="664952009" sldId="531"/>
        </pc:sldMkLst>
      </pc:sldChg>
      <pc:sldChg chg="ord">
        <pc:chgData name="Nissinen Elina" userId="S::elina.nissinen_ii.fi#ext#@destia.onmicrosoft.com::da71c1a5-6df0-4545-a6f9-a17a12d73b1e" providerId="AD" clId="Web-{751EA85F-D747-40FE-AB3E-4F98DDAE3F54}" dt="2022-04-24T09:53:42.142" v="47"/>
        <pc:sldMkLst>
          <pc:docMk/>
          <pc:sldMk cId="4200316930" sldId="535"/>
        </pc:sldMkLst>
      </pc:sldChg>
      <pc:sldChg chg="addSp delSp modSp">
        <pc:chgData name="Nissinen Elina" userId="S::elina.nissinen_ii.fi#ext#@destia.onmicrosoft.com::da71c1a5-6df0-4545-a6f9-a17a12d73b1e" providerId="AD" clId="Web-{751EA85F-D747-40FE-AB3E-4F98DDAE3F54}" dt="2022-04-24T09:51:42.775" v="46" actId="20577"/>
        <pc:sldMkLst>
          <pc:docMk/>
          <pc:sldMk cId="2298027594" sldId="537"/>
        </pc:sldMkLst>
        <pc:spChg chg="add mod">
          <ac:chgData name="Nissinen Elina" userId="S::elina.nissinen_ii.fi#ext#@destia.onmicrosoft.com::da71c1a5-6df0-4545-a6f9-a17a12d73b1e" providerId="AD" clId="Web-{751EA85F-D747-40FE-AB3E-4F98DDAE3F54}" dt="2022-04-24T09:51:23.540" v="37"/>
          <ac:spMkLst>
            <pc:docMk/>
            <pc:sldMk cId="2298027594" sldId="537"/>
            <ac:spMk id="3" creationId="{04EF6283-4BCC-E298-39E0-A369865928E7}"/>
          </ac:spMkLst>
        </pc:spChg>
        <pc:spChg chg="add del">
          <ac:chgData name="Nissinen Elina" userId="S::elina.nissinen_ii.fi#ext#@destia.onmicrosoft.com::da71c1a5-6df0-4545-a6f9-a17a12d73b1e" providerId="AD" clId="Web-{751EA85F-D747-40FE-AB3E-4F98DDAE3F54}" dt="2022-04-24T09:48:47.523" v="11"/>
          <ac:spMkLst>
            <pc:docMk/>
            <pc:sldMk cId="2298027594" sldId="537"/>
            <ac:spMk id="5" creationId="{3CCF22B1-EE76-8E47-28D8-73E08936BC67}"/>
          </ac:spMkLst>
        </pc:spChg>
        <pc:spChg chg="add mod">
          <ac:chgData name="Nissinen Elina" userId="S::elina.nissinen_ii.fi#ext#@destia.onmicrosoft.com::da71c1a5-6df0-4545-a6f9-a17a12d73b1e" providerId="AD" clId="Web-{751EA85F-D747-40FE-AB3E-4F98DDAE3F54}" dt="2022-04-24T09:51:42.775" v="46" actId="20577"/>
          <ac:spMkLst>
            <pc:docMk/>
            <pc:sldMk cId="2298027594" sldId="537"/>
            <ac:spMk id="8" creationId="{A2CBB272-23C1-7AF2-9AC0-499C6991390C}"/>
          </ac:spMkLst>
        </pc:spChg>
      </pc:sldChg>
      <pc:sldChg chg="modSp new ord">
        <pc:chgData name="Nissinen Elina" userId="S::elina.nissinen_ii.fi#ext#@destia.onmicrosoft.com::da71c1a5-6df0-4545-a6f9-a17a12d73b1e" providerId="AD" clId="Web-{751EA85F-D747-40FE-AB3E-4F98DDAE3F54}" dt="2022-04-24T09:48:41.476" v="7"/>
        <pc:sldMkLst>
          <pc:docMk/>
          <pc:sldMk cId="2286557877" sldId="548"/>
        </pc:sldMkLst>
        <pc:spChg chg="mod">
          <ac:chgData name="Nissinen Elina" userId="S::elina.nissinen_ii.fi#ext#@destia.onmicrosoft.com::da71c1a5-6df0-4545-a6f9-a17a12d73b1e" providerId="AD" clId="Web-{751EA85F-D747-40FE-AB3E-4F98DDAE3F54}" dt="2022-04-24T09:48:41.444" v="6" actId="20577"/>
          <ac:spMkLst>
            <pc:docMk/>
            <pc:sldMk cId="2286557877" sldId="548"/>
            <ac:spMk id="2" creationId="{E3E944A7-CF37-C2E6-085D-4E0F3CF14CF3}"/>
          </ac:spMkLst>
        </pc:spChg>
      </pc:sldChg>
      <pc:sldChg chg="modSp new">
        <pc:chgData name="Nissinen Elina" userId="S::elina.nissinen_ii.fi#ext#@destia.onmicrosoft.com::da71c1a5-6df0-4545-a6f9-a17a12d73b1e" providerId="AD" clId="Web-{751EA85F-D747-40FE-AB3E-4F98DDAE3F54}" dt="2022-04-24T09:48:41.648" v="8" actId="20577"/>
        <pc:sldMkLst>
          <pc:docMk/>
          <pc:sldMk cId="4137946744" sldId="549"/>
        </pc:sldMkLst>
        <pc:spChg chg="mod">
          <ac:chgData name="Nissinen Elina" userId="S::elina.nissinen_ii.fi#ext#@destia.onmicrosoft.com::da71c1a5-6df0-4545-a6f9-a17a12d73b1e" providerId="AD" clId="Web-{751EA85F-D747-40FE-AB3E-4F98DDAE3F54}" dt="2022-04-24T09:48:41.648" v="8" actId="20577"/>
          <ac:spMkLst>
            <pc:docMk/>
            <pc:sldMk cId="4137946744" sldId="549"/>
            <ac:spMk id="2" creationId="{BB554342-D950-ADC0-565B-9487CACB0DCD}"/>
          </ac:spMkLst>
        </pc:spChg>
      </pc:sldChg>
    </pc:docChg>
  </pc:docChgLst>
  <pc:docChgLst>
    <pc:chgData name="Raunio, Jaakko" userId="S::jaakko.raunio_sweco.fi#ext#@destia.onmicrosoft.com::d42573cc-e68f-4e71-b72f-5e135050e2ef" providerId="AD" clId="Web-{27839734-5F00-4E7B-A419-023E7C977C1F}"/>
    <pc:docChg chg="addSld modSld sldOrd">
      <pc:chgData name="Raunio, Jaakko" userId="S::jaakko.raunio_sweco.fi#ext#@destia.onmicrosoft.com::d42573cc-e68f-4e71-b72f-5e135050e2ef" providerId="AD" clId="Web-{27839734-5F00-4E7B-A419-023E7C977C1F}" dt="2022-04-22T11:59:07.971" v="197" actId="20577"/>
      <pc:docMkLst>
        <pc:docMk/>
      </pc:docMkLst>
      <pc:sldChg chg="ord">
        <pc:chgData name="Raunio, Jaakko" userId="S::jaakko.raunio_sweco.fi#ext#@destia.onmicrosoft.com::d42573cc-e68f-4e71-b72f-5e135050e2ef" providerId="AD" clId="Web-{27839734-5F00-4E7B-A419-023E7C977C1F}" dt="2022-04-22T11:55:48.356" v="29"/>
        <pc:sldMkLst>
          <pc:docMk/>
          <pc:sldMk cId="2252378190" sldId="536"/>
        </pc:sldMkLst>
      </pc:sldChg>
      <pc:sldChg chg="ord">
        <pc:chgData name="Raunio, Jaakko" userId="S::jaakko.raunio_sweco.fi#ext#@destia.onmicrosoft.com::d42573cc-e68f-4e71-b72f-5e135050e2ef" providerId="AD" clId="Web-{27839734-5F00-4E7B-A419-023E7C977C1F}" dt="2022-04-22T11:55:26.543" v="28"/>
        <pc:sldMkLst>
          <pc:docMk/>
          <pc:sldMk cId="3332440762" sldId="538"/>
        </pc:sldMkLst>
      </pc:sldChg>
      <pc:sldChg chg="ord">
        <pc:chgData name="Raunio, Jaakko" userId="S::jaakko.raunio_sweco.fi#ext#@destia.onmicrosoft.com::d42573cc-e68f-4e71-b72f-5e135050e2ef" providerId="AD" clId="Web-{27839734-5F00-4E7B-A419-023E7C977C1F}" dt="2022-04-22T11:56:09.122" v="30"/>
        <pc:sldMkLst>
          <pc:docMk/>
          <pc:sldMk cId="2557082946" sldId="545"/>
        </pc:sldMkLst>
      </pc:sldChg>
      <pc:sldChg chg="addSp delSp modSp">
        <pc:chgData name="Raunio, Jaakko" userId="S::jaakko.raunio_sweco.fi#ext#@destia.onmicrosoft.com::d42573cc-e68f-4e71-b72f-5e135050e2ef" providerId="AD" clId="Web-{27839734-5F00-4E7B-A419-023E7C977C1F}" dt="2022-04-22T11:54:03.212" v="25" actId="14100"/>
        <pc:sldMkLst>
          <pc:docMk/>
          <pc:sldMk cId="3084095650" sldId="546"/>
        </pc:sldMkLst>
        <pc:spChg chg="mod">
          <ac:chgData name="Raunio, Jaakko" userId="S::jaakko.raunio_sweco.fi#ext#@destia.onmicrosoft.com::d42573cc-e68f-4e71-b72f-5e135050e2ef" providerId="AD" clId="Web-{27839734-5F00-4E7B-A419-023E7C977C1F}" dt="2022-04-22T11:45:05.025" v="8" actId="1076"/>
          <ac:spMkLst>
            <pc:docMk/>
            <pc:sldMk cId="3084095650" sldId="546"/>
            <ac:spMk id="2" creationId="{00000000-0000-0000-0000-000000000000}"/>
          </ac:spMkLst>
        </pc:spChg>
        <pc:spChg chg="del">
          <ac:chgData name="Raunio, Jaakko" userId="S::jaakko.raunio_sweco.fi#ext#@destia.onmicrosoft.com::d42573cc-e68f-4e71-b72f-5e135050e2ef" providerId="AD" clId="Web-{27839734-5F00-4E7B-A419-023E7C977C1F}" dt="2022-04-22T11:44:58.744" v="6"/>
          <ac:spMkLst>
            <pc:docMk/>
            <pc:sldMk cId="3084095650" sldId="546"/>
            <ac:spMk id="7" creationId="{771192CD-BB32-436A-A438-2D385A34DA75}"/>
          </ac:spMkLst>
        </pc:spChg>
        <pc:picChg chg="add del mod">
          <ac:chgData name="Raunio, Jaakko" userId="S::jaakko.raunio_sweco.fi#ext#@destia.onmicrosoft.com::d42573cc-e68f-4e71-b72f-5e135050e2ef" providerId="AD" clId="Web-{27839734-5F00-4E7B-A419-023E7C977C1F}" dt="2022-04-22T11:48:27.563" v="12"/>
          <ac:picMkLst>
            <pc:docMk/>
            <pc:sldMk cId="3084095650" sldId="546"/>
            <ac:picMk id="3" creationId="{CE502EB2-B5B9-B614-ED7C-4436C3D12696}"/>
          </ac:picMkLst>
        </pc:picChg>
        <pc:picChg chg="add del mod">
          <ac:chgData name="Raunio, Jaakko" userId="S::jaakko.raunio_sweco.fi#ext#@destia.onmicrosoft.com::d42573cc-e68f-4e71-b72f-5e135050e2ef" providerId="AD" clId="Web-{27839734-5F00-4E7B-A419-023E7C977C1F}" dt="2022-04-22T11:48:44.938" v="14"/>
          <ac:picMkLst>
            <pc:docMk/>
            <pc:sldMk cId="3084095650" sldId="546"/>
            <ac:picMk id="5" creationId="{00CBE6CA-852D-1916-5408-B379380865E0}"/>
          </ac:picMkLst>
        </pc:picChg>
        <pc:picChg chg="del">
          <ac:chgData name="Raunio, Jaakko" userId="S::jaakko.raunio_sweco.fi#ext#@destia.onmicrosoft.com::d42573cc-e68f-4e71-b72f-5e135050e2ef" providerId="AD" clId="Web-{27839734-5F00-4E7B-A419-023E7C977C1F}" dt="2022-04-22T11:45:00.260" v="7"/>
          <ac:picMkLst>
            <pc:docMk/>
            <pc:sldMk cId="3084095650" sldId="546"/>
            <ac:picMk id="6" creationId="{F9629621-F94A-4040-9C3B-469E7FAA6E92}"/>
          </ac:picMkLst>
        </pc:picChg>
        <pc:picChg chg="add del mod">
          <ac:chgData name="Raunio, Jaakko" userId="S::jaakko.raunio_sweco.fi#ext#@destia.onmicrosoft.com::d42573cc-e68f-4e71-b72f-5e135050e2ef" providerId="AD" clId="Web-{27839734-5F00-4E7B-A419-023E7C977C1F}" dt="2022-04-22T11:53:51.290" v="21"/>
          <ac:picMkLst>
            <pc:docMk/>
            <pc:sldMk cId="3084095650" sldId="546"/>
            <ac:picMk id="8" creationId="{AB7FAB8C-9F2B-9AC4-AE46-949BC82C0B0B}"/>
          </ac:picMkLst>
        </pc:picChg>
        <pc:picChg chg="add mod">
          <ac:chgData name="Raunio, Jaakko" userId="S::jaakko.raunio_sweco.fi#ext#@destia.onmicrosoft.com::d42573cc-e68f-4e71-b72f-5e135050e2ef" providerId="AD" clId="Web-{27839734-5F00-4E7B-A419-023E7C977C1F}" dt="2022-04-22T11:54:03.212" v="25" actId="14100"/>
          <ac:picMkLst>
            <pc:docMk/>
            <pc:sldMk cId="3084095650" sldId="546"/>
            <ac:picMk id="9" creationId="{7507B307-703E-C08A-3AE0-E170E1453757}"/>
          </ac:picMkLst>
        </pc:picChg>
      </pc:sldChg>
      <pc:sldChg chg="addSp delSp modSp new">
        <pc:chgData name="Raunio, Jaakko" userId="S::jaakko.raunio_sweco.fi#ext#@destia.onmicrosoft.com::d42573cc-e68f-4e71-b72f-5e135050e2ef" providerId="AD" clId="Web-{27839734-5F00-4E7B-A419-023E7C977C1F}" dt="2022-04-22T11:59:07.971" v="197" actId="20577"/>
        <pc:sldMkLst>
          <pc:docMk/>
          <pc:sldMk cId="1843644820" sldId="547"/>
        </pc:sldMkLst>
        <pc:spChg chg="mod">
          <ac:chgData name="Raunio, Jaakko" userId="S::jaakko.raunio_sweco.fi#ext#@destia.onmicrosoft.com::d42573cc-e68f-4e71-b72f-5e135050e2ef" providerId="AD" clId="Web-{27839734-5F00-4E7B-A419-023E7C977C1F}" dt="2022-04-22T11:56:42.248" v="67" actId="20577"/>
          <ac:spMkLst>
            <pc:docMk/>
            <pc:sldMk cId="1843644820" sldId="547"/>
            <ac:spMk id="2" creationId="{88E9F493-90E1-7338-6114-94D0A5C4C94D}"/>
          </ac:spMkLst>
        </pc:spChg>
        <pc:spChg chg="del">
          <ac:chgData name="Raunio, Jaakko" userId="S::jaakko.raunio_sweco.fi#ext#@destia.onmicrosoft.com::d42573cc-e68f-4e71-b72f-5e135050e2ef" providerId="AD" clId="Web-{27839734-5F00-4E7B-A419-023E7C977C1F}" dt="2022-04-22T11:56:25.310" v="32"/>
          <ac:spMkLst>
            <pc:docMk/>
            <pc:sldMk cId="1843644820" sldId="547"/>
            <ac:spMk id="3" creationId="{ADE24986-3E3D-C197-AB90-6B282C05FBD1}"/>
          </ac:spMkLst>
        </pc:spChg>
        <pc:spChg chg="del mod">
          <ac:chgData name="Raunio, Jaakko" userId="S::jaakko.raunio_sweco.fi#ext#@destia.onmicrosoft.com::d42573cc-e68f-4e71-b72f-5e135050e2ef" providerId="AD" clId="Web-{27839734-5F00-4E7B-A419-023E7C977C1F}" dt="2022-04-22T11:56:29.435" v="35"/>
          <ac:spMkLst>
            <pc:docMk/>
            <pc:sldMk cId="1843644820" sldId="547"/>
            <ac:spMk id="5" creationId="{440C4D77-8BA6-D4A1-232C-E86F9811A91F}"/>
          </ac:spMkLst>
        </pc:spChg>
        <pc:spChg chg="add mod">
          <ac:chgData name="Raunio, Jaakko" userId="S::jaakko.raunio_sweco.fi#ext#@destia.onmicrosoft.com::d42573cc-e68f-4e71-b72f-5e135050e2ef" providerId="AD" clId="Web-{27839734-5F00-4E7B-A419-023E7C977C1F}" dt="2022-04-22T11:59:07.971" v="197" actId="20577"/>
          <ac:spMkLst>
            <pc:docMk/>
            <pc:sldMk cId="1843644820" sldId="547"/>
            <ac:spMk id="7" creationId="{CC7320E3-3F1F-AAFE-B76D-9FF96F732508}"/>
          </ac:spMkLst>
        </pc:spChg>
      </pc:sldChg>
    </pc:docChg>
  </pc:docChgLst>
  <pc:docChgLst>
    <pc:chgData name="Raunio, Jaakko" userId="S::jaakko.raunio_sweco.fi#ext#@destia.onmicrosoft.com::d42573cc-e68f-4e71-b72f-5e135050e2ef" providerId="AD" clId="Web-{5EB83935-CDDA-4AF6-8A91-14A72C0A1D3C}"/>
    <pc:docChg chg="addSld sldOrd">
      <pc:chgData name="Raunio, Jaakko" userId="S::jaakko.raunio_sweco.fi#ext#@destia.onmicrosoft.com::d42573cc-e68f-4e71-b72f-5e135050e2ef" providerId="AD" clId="Web-{5EB83935-CDDA-4AF6-8A91-14A72C0A1D3C}" dt="2022-04-22T11:44:17.929" v="1"/>
      <pc:docMkLst>
        <pc:docMk/>
      </pc:docMkLst>
      <pc:sldChg chg="add ord replId">
        <pc:chgData name="Raunio, Jaakko" userId="S::jaakko.raunio_sweco.fi#ext#@destia.onmicrosoft.com::d42573cc-e68f-4e71-b72f-5e135050e2ef" providerId="AD" clId="Web-{5EB83935-CDDA-4AF6-8A91-14A72C0A1D3C}" dt="2022-04-22T11:44:17.929" v="1"/>
        <pc:sldMkLst>
          <pc:docMk/>
          <pc:sldMk cId="3084095650" sldId="546"/>
        </pc:sldMkLst>
      </pc:sldChg>
    </pc:docChg>
  </pc:docChgLst>
  <pc:docChgLst>
    <pc:chgData name="Hautaniemi Päivi (ELY)" userId="S::paivi.hautaniemi_ely-keskus.fi#ext#@destia.onmicrosoft.com::c0e0d0b6-9cf3-4c70-8e8a-de75d54aff63" providerId="AD" clId="Web-{01B6285D-9CBD-4A3C-99A3-F72B130DFDD3}"/>
    <pc:docChg chg="sldOrd">
      <pc:chgData name="Hautaniemi Päivi (ELY)" userId="S::paivi.hautaniemi_ely-keskus.fi#ext#@destia.onmicrosoft.com::c0e0d0b6-9cf3-4c70-8e8a-de75d54aff63" providerId="AD" clId="Web-{01B6285D-9CBD-4A3C-99A3-F72B130DFDD3}" dt="2022-04-26T07:06:25.937" v="0"/>
      <pc:docMkLst>
        <pc:docMk/>
      </pc:docMkLst>
      <pc:sldChg chg="ord">
        <pc:chgData name="Hautaniemi Päivi (ELY)" userId="S::paivi.hautaniemi_ely-keskus.fi#ext#@destia.onmicrosoft.com::c0e0d0b6-9cf3-4c70-8e8a-de75d54aff63" providerId="AD" clId="Web-{01B6285D-9CBD-4A3C-99A3-F72B130DFDD3}" dt="2022-04-26T07:06:25.937" v="0"/>
        <pc:sldMkLst>
          <pc:docMk/>
          <pc:sldMk cId="3105707221" sldId="534"/>
        </pc:sldMkLst>
      </pc:sldChg>
    </pc:docChg>
  </pc:docChgLst>
  <pc:docChgLst>
    <pc:chgData name="Elina Nissinen" userId="31eb79d7-3917-40ab-82a6-a84d690a8340" providerId="ADAL" clId="{012B55E8-978F-43A8-90BF-7D51B7BC0541}"/>
    <pc:docChg chg="undo redo custSel addSld delSld modSld">
      <pc:chgData name="Elina Nissinen" userId="31eb79d7-3917-40ab-82a6-a84d690a8340" providerId="ADAL" clId="{012B55E8-978F-43A8-90BF-7D51B7BC0541}" dt="2022-04-24T11:04:01.687" v="1247" actId="20577"/>
      <pc:docMkLst>
        <pc:docMk/>
      </pc:docMkLst>
      <pc:sldChg chg="modSp">
        <pc:chgData name="Elina Nissinen" userId="31eb79d7-3917-40ab-82a6-a84d690a8340" providerId="ADAL" clId="{012B55E8-978F-43A8-90BF-7D51B7BC0541}" dt="2022-04-24T10:08:20.691" v="151" actId="1035"/>
        <pc:sldMkLst>
          <pc:docMk/>
          <pc:sldMk cId="1399410474" sldId="374"/>
        </pc:sldMkLst>
        <pc:picChg chg="mod">
          <ac:chgData name="Elina Nissinen" userId="31eb79d7-3917-40ab-82a6-a84d690a8340" providerId="ADAL" clId="{012B55E8-978F-43A8-90BF-7D51B7BC0541}" dt="2022-04-24T10:08:20.691" v="151" actId="1035"/>
          <ac:picMkLst>
            <pc:docMk/>
            <pc:sldMk cId="1399410474" sldId="374"/>
            <ac:picMk id="4" creationId="{1E15C630-EA92-4600-97CE-C9F495F42873}"/>
          </ac:picMkLst>
        </pc:picChg>
      </pc:sldChg>
      <pc:sldChg chg="addSp delSp modSp">
        <pc:chgData name="Elina Nissinen" userId="31eb79d7-3917-40ab-82a6-a84d690a8340" providerId="ADAL" clId="{012B55E8-978F-43A8-90BF-7D51B7BC0541}" dt="2022-04-24T10:52:00.729" v="1099" actId="166"/>
        <pc:sldMkLst>
          <pc:docMk/>
          <pc:sldMk cId="4200316930" sldId="535"/>
        </pc:sldMkLst>
        <pc:spChg chg="mod ord">
          <ac:chgData name="Elina Nissinen" userId="31eb79d7-3917-40ab-82a6-a84d690a8340" providerId="ADAL" clId="{012B55E8-978F-43A8-90BF-7D51B7BC0541}" dt="2022-04-24T10:52:00.729" v="1099" actId="166"/>
          <ac:spMkLst>
            <pc:docMk/>
            <pc:sldMk cId="4200316930" sldId="535"/>
            <ac:spMk id="2" creationId="{00000000-0000-0000-0000-000000000000}"/>
          </ac:spMkLst>
        </pc:spChg>
        <pc:picChg chg="add del">
          <ac:chgData name="Elina Nissinen" userId="31eb79d7-3917-40ab-82a6-a84d690a8340" providerId="ADAL" clId="{012B55E8-978F-43A8-90BF-7D51B7BC0541}" dt="2022-04-24T10:51:37.342" v="1094" actId="478"/>
          <ac:picMkLst>
            <pc:docMk/>
            <pc:sldMk cId="4200316930" sldId="535"/>
            <ac:picMk id="3" creationId="{5822B6F7-0EB4-4D70-94A9-9A2020F2B8E4}"/>
          </ac:picMkLst>
        </pc:picChg>
        <pc:picChg chg="add del">
          <ac:chgData name="Elina Nissinen" userId="31eb79d7-3917-40ab-82a6-a84d690a8340" providerId="ADAL" clId="{012B55E8-978F-43A8-90BF-7D51B7BC0541}" dt="2022-04-24T10:51:37.342" v="1094" actId="478"/>
          <ac:picMkLst>
            <pc:docMk/>
            <pc:sldMk cId="4200316930" sldId="535"/>
            <ac:picMk id="6" creationId="{094BF7B9-2AB6-470E-8F84-FE9B91AD139A}"/>
          </ac:picMkLst>
        </pc:picChg>
        <pc:picChg chg="add del mod">
          <ac:chgData name="Elina Nissinen" userId="31eb79d7-3917-40ab-82a6-a84d690a8340" providerId="ADAL" clId="{012B55E8-978F-43A8-90BF-7D51B7BC0541}" dt="2022-04-24T10:51:53.680" v="1098" actId="1076"/>
          <ac:picMkLst>
            <pc:docMk/>
            <pc:sldMk cId="4200316930" sldId="535"/>
            <ac:picMk id="7" creationId="{0319881A-D9FA-4A9B-88A7-5D0A4342EB08}"/>
          </ac:picMkLst>
        </pc:picChg>
      </pc:sldChg>
      <pc:sldChg chg="addSp delSp modSp">
        <pc:chgData name="Elina Nissinen" userId="31eb79d7-3917-40ab-82a6-a84d690a8340" providerId="ADAL" clId="{012B55E8-978F-43A8-90BF-7D51B7BC0541}" dt="2022-04-24T10:24:55.093" v="183" actId="20577"/>
        <pc:sldMkLst>
          <pc:docMk/>
          <pc:sldMk cId="715459328" sldId="542"/>
        </pc:sldMkLst>
        <pc:spChg chg="del">
          <ac:chgData name="Elina Nissinen" userId="31eb79d7-3917-40ab-82a6-a84d690a8340" providerId="ADAL" clId="{012B55E8-978F-43A8-90BF-7D51B7BC0541}" dt="2022-04-24T10:23:01.943" v="164" actId="478"/>
          <ac:spMkLst>
            <pc:docMk/>
            <pc:sldMk cId="715459328" sldId="542"/>
            <ac:spMk id="11" creationId="{1C7BEA20-362A-4665-956E-A85F7EC96355}"/>
          </ac:spMkLst>
        </pc:spChg>
        <pc:spChg chg="mod">
          <ac:chgData name="Elina Nissinen" userId="31eb79d7-3917-40ab-82a6-a84d690a8340" providerId="ADAL" clId="{012B55E8-978F-43A8-90BF-7D51B7BC0541}" dt="2022-04-24T10:24:47.180" v="179" actId="1076"/>
          <ac:spMkLst>
            <pc:docMk/>
            <pc:sldMk cId="715459328" sldId="542"/>
            <ac:spMk id="12" creationId="{5257D038-D0E9-4A5C-B511-FC8692CAB37F}"/>
          </ac:spMkLst>
        </pc:spChg>
        <pc:spChg chg="add mod">
          <ac:chgData name="Elina Nissinen" userId="31eb79d7-3917-40ab-82a6-a84d690a8340" providerId="ADAL" clId="{012B55E8-978F-43A8-90BF-7D51B7BC0541}" dt="2022-04-24T10:24:55.093" v="183" actId="20577"/>
          <ac:spMkLst>
            <pc:docMk/>
            <pc:sldMk cId="715459328" sldId="542"/>
            <ac:spMk id="13" creationId="{D8264FB3-1E94-4CEF-94EE-A08FB9CC5A4E}"/>
          </ac:spMkLst>
        </pc:spChg>
        <pc:picChg chg="add mod">
          <ac:chgData name="Elina Nissinen" userId="31eb79d7-3917-40ab-82a6-a84d690a8340" providerId="ADAL" clId="{012B55E8-978F-43A8-90BF-7D51B7BC0541}" dt="2022-04-24T10:22:55.751" v="163" actId="14100"/>
          <ac:picMkLst>
            <pc:docMk/>
            <pc:sldMk cId="715459328" sldId="542"/>
            <ac:picMk id="3" creationId="{0C6F8E32-815C-4469-8B87-B917D9C7CA37}"/>
          </ac:picMkLst>
        </pc:picChg>
        <pc:picChg chg="del">
          <ac:chgData name="Elina Nissinen" userId="31eb79d7-3917-40ab-82a6-a84d690a8340" providerId="ADAL" clId="{012B55E8-978F-43A8-90BF-7D51B7BC0541}" dt="2022-04-24T10:24:32.647" v="173" actId="478"/>
          <ac:picMkLst>
            <pc:docMk/>
            <pc:sldMk cId="715459328" sldId="542"/>
            <ac:picMk id="5" creationId="{882D58C6-ECE7-4F68-99AB-DA98A4FF2BB7}"/>
          </ac:picMkLst>
        </pc:picChg>
        <pc:picChg chg="add mod">
          <ac:chgData name="Elina Nissinen" userId="31eb79d7-3917-40ab-82a6-a84d690a8340" providerId="ADAL" clId="{012B55E8-978F-43A8-90BF-7D51B7BC0541}" dt="2022-04-24T10:24:42.190" v="178" actId="14100"/>
          <ac:picMkLst>
            <pc:docMk/>
            <pc:sldMk cId="715459328" sldId="542"/>
            <ac:picMk id="6" creationId="{115D2BF5-E6BA-4928-AB51-0B2444A363F7}"/>
          </ac:picMkLst>
        </pc:picChg>
        <pc:picChg chg="del">
          <ac:chgData name="Elina Nissinen" userId="31eb79d7-3917-40ab-82a6-a84d690a8340" providerId="ADAL" clId="{012B55E8-978F-43A8-90BF-7D51B7BC0541}" dt="2022-04-24T10:22:38.518" v="157" actId="478"/>
          <ac:picMkLst>
            <pc:docMk/>
            <pc:sldMk cId="715459328" sldId="542"/>
            <ac:picMk id="10" creationId="{5CBB4632-C630-47CC-8884-886860AE477F}"/>
          </ac:picMkLst>
        </pc:picChg>
      </pc:sldChg>
      <pc:sldChg chg="addSp delSp modSp">
        <pc:chgData name="Elina Nissinen" userId="31eb79d7-3917-40ab-82a6-a84d690a8340" providerId="ADAL" clId="{012B55E8-978F-43A8-90BF-7D51B7BC0541}" dt="2022-04-24T10:28:17.021" v="238" actId="20577"/>
        <pc:sldMkLst>
          <pc:docMk/>
          <pc:sldMk cId="4278197998" sldId="543"/>
        </pc:sldMkLst>
        <pc:spChg chg="mod">
          <ac:chgData name="Elina Nissinen" userId="31eb79d7-3917-40ab-82a6-a84d690a8340" providerId="ADAL" clId="{012B55E8-978F-43A8-90BF-7D51B7BC0541}" dt="2022-04-24T10:28:17.021" v="238" actId="20577"/>
          <ac:spMkLst>
            <pc:docMk/>
            <pc:sldMk cId="4278197998" sldId="543"/>
            <ac:spMk id="2" creationId="{00000000-0000-0000-0000-000000000000}"/>
          </ac:spMkLst>
        </pc:spChg>
        <pc:spChg chg="del mod">
          <ac:chgData name="Elina Nissinen" userId="31eb79d7-3917-40ab-82a6-a84d690a8340" providerId="ADAL" clId="{012B55E8-978F-43A8-90BF-7D51B7BC0541}" dt="2022-04-24T10:27:28.773" v="229" actId="478"/>
          <ac:spMkLst>
            <pc:docMk/>
            <pc:sldMk cId="4278197998" sldId="543"/>
            <ac:spMk id="6" creationId="{C2F74F57-A8F9-4FEA-877A-0FDC26C259E2}"/>
          </ac:spMkLst>
        </pc:spChg>
        <pc:spChg chg="del">
          <ac:chgData name="Elina Nissinen" userId="31eb79d7-3917-40ab-82a6-a84d690a8340" providerId="ADAL" clId="{012B55E8-978F-43A8-90BF-7D51B7BC0541}" dt="2022-04-24T10:23:06.779" v="165" actId="478"/>
          <ac:spMkLst>
            <pc:docMk/>
            <pc:sldMk cId="4278197998" sldId="543"/>
            <ac:spMk id="11" creationId="{1E8A075B-0635-4745-A406-09C44450F564}"/>
          </ac:spMkLst>
        </pc:spChg>
        <pc:spChg chg="add mod">
          <ac:chgData name="Elina Nissinen" userId="31eb79d7-3917-40ab-82a6-a84d690a8340" providerId="ADAL" clId="{012B55E8-978F-43A8-90BF-7D51B7BC0541}" dt="2022-04-24T10:27:52.737" v="233" actId="1076"/>
          <ac:spMkLst>
            <pc:docMk/>
            <pc:sldMk cId="4278197998" sldId="543"/>
            <ac:spMk id="12" creationId="{E41F898B-957F-4683-A9BC-2B3560D2B483}"/>
          </ac:spMkLst>
        </pc:spChg>
        <pc:spChg chg="add mod">
          <ac:chgData name="Elina Nissinen" userId="31eb79d7-3917-40ab-82a6-a84d690a8340" providerId="ADAL" clId="{012B55E8-978F-43A8-90BF-7D51B7BC0541}" dt="2022-04-24T10:27:47.026" v="232" actId="1076"/>
          <ac:spMkLst>
            <pc:docMk/>
            <pc:sldMk cId="4278197998" sldId="543"/>
            <ac:spMk id="13" creationId="{1C9B26B7-70FC-4A2A-9B43-05B03D5B3228}"/>
          </ac:spMkLst>
        </pc:spChg>
        <pc:picChg chg="add del mod">
          <ac:chgData name="Elina Nissinen" userId="31eb79d7-3917-40ab-82a6-a84d690a8340" providerId="ADAL" clId="{012B55E8-978F-43A8-90BF-7D51B7BC0541}" dt="2022-04-24T10:27:25.955" v="227" actId="478"/>
          <ac:picMkLst>
            <pc:docMk/>
            <pc:sldMk cId="4278197998" sldId="543"/>
            <ac:picMk id="3" creationId="{BA3098DB-0DFF-4891-B59C-C094B8EE1DF7}"/>
          </ac:picMkLst>
        </pc:picChg>
        <pc:picChg chg="del">
          <ac:chgData name="Elina Nissinen" userId="31eb79d7-3917-40ab-82a6-a84d690a8340" providerId="ADAL" clId="{012B55E8-978F-43A8-90BF-7D51B7BC0541}" dt="2022-04-24T10:23:16.139" v="167" actId="478"/>
          <ac:picMkLst>
            <pc:docMk/>
            <pc:sldMk cId="4278197998" sldId="543"/>
            <ac:picMk id="5" creationId="{151024A7-4C10-4C7B-9A56-106854DE78AB}"/>
          </ac:picMkLst>
        </pc:picChg>
        <pc:picChg chg="add mod">
          <ac:chgData name="Elina Nissinen" userId="31eb79d7-3917-40ab-82a6-a84d690a8340" providerId="ADAL" clId="{012B55E8-978F-43A8-90BF-7D51B7BC0541}" dt="2022-04-24T10:26:21.738" v="192" actId="14100"/>
          <ac:picMkLst>
            <pc:docMk/>
            <pc:sldMk cId="4278197998" sldId="543"/>
            <ac:picMk id="7" creationId="{BA89E91B-28BE-49BA-82EF-2E321E23B82E}"/>
          </ac:picMkLst>
        </pc:picChg>
        <pc:picChg chg="add mod">
          <ac:chgData name="Elina Nissinen" userId="31eb79d7-3917-40ab-82a6-a84d690a8340" providerId="ADAL" clId="{012B55E8-978F-43A8-90BF-7D51B7BC0541}" dt="2022-04-24T10:27:31.515" v="230" actId="1076"/>
          <ac:picMkLst>
            <pc:docMk/>
            <pc:sldMk cId="4278197998" sldId="543"/>
            <ac:picMk id="8" creationId="{3F5C4BA9-294D-446A-BFED-F369EC5952B0}"/>
          </ac:picMkLst>
        </pc:picChg>
        <pc:picChg chg="del">
          <ac:chgData name="Elina Nissinen" userId="31eb79d7-3917-40ab-82a6-a84d690a8340" providerId="ADAL" clId="{012B55E8-978F-43A8-90BF-7D51B7BC0541}" dt="2022-04-24T10:25:52.843" v="184" actId="478"/>
          <ac:picMkLst>
            <pc:docMk/>
            <pc:sldMk cId="4278197998" sldId="543"/>
            <ac:picMk id="10" creationId="{63A3D222-B0AC-4AD9-8400-13694F110F9D}"/>
          </ac:picMkLst>
        </pc:picChg>
      </pc:sldChg>
      <pc:sldChg chg="addSp delSp modSp">
        <pc:chgData name="Elina Nissinen" userId="31eb79d7-3917-40ab-82a6-a84d690a8340" providerId="ADAL" clId="{012B55E8-978F-43A8-90BF-7D51B7BC0541}" dt="2022-04-24T10:58:32.135" v="1105" actId="478"/>
        <pc:sldMkLst>
          <pc:docMk/>
          <pc:sldMk cId="1843644820" sldId="547"/>
        </pc:sldMkLst>
        <pc:spChg chg="del mod">
          <ac:chgData name="Elina Nissinen" userId="31eb79d7-3917-40ab-82a6-a84d690a8340" providerId="ADAL" clId="{012B55E8-978F-43A8-90BF-7D51B7BC0541}" dt="2022-04-24T10:58:30.259" v="1104" actId="478"/>
          <ac:spMkLst>
            <pc:docMk/>
            <pc:sldMk cId="1843644820" sldId="547"/>
            <ac:spMk id="4" creationId="{0A038DE8-FA4C-9B6E-F934-0C5236D822BD}"/>
          </ac:spMkLst>
        </pc:spChg>
        <pc:spChg chg="del">
          <ac:chgData name="Elina Nissinen" userId="31eb79d7-3917-40ab-82a6-a84d690a8340" providerId="ADAL" clId="{012B55E8-978F-43A8-90BF-7D51B7BC0541}" dt="2022-04-24T10:58:32.135" v="1105" actId="478"/>
          <ac:spMkLst>
            <pc:docMk/>
            <pc:sldMk cId="1843644820" sldId="547"/>
            <ac:spMk id="6" creationId="{CB1970CB-1093-286E-80DA-A7A72041BE59}"/>
          </ac:spMkLst>
        </pc:spChg>
        <pc:picChg chg="add">
          <ac:chgData name="Elina Nissinen" userId="31eb79d7-3917-40ab-82a6-a84d690a8340" providerId="ADAL" clId="{012B55E8-978F-43A8-90BF-7D51B7BC0541}" dt="2022-04-24T10:08:46.336" v="156"/>
          <ac:picMkLst>
            <pc:docMk/>
            <pc:sldMk cId="1843644820" sldId="547"/>
            <ac:picMk id="8" creationId="{23935999-8227-47AE-8C1F-568411458E69}"/>
          </ac:picMkLst>
        </pc:picChg>
      </pc:sldChg>
      <pc:sldChg chg="addSp delSp modSp">
        <pc:chgData name="Elina Nissinen" userId="31eb79d7-3917-40ab-82a6-a84d690a8340" providerId="ADAL" clId="{012B55E8-978F-43A8-90BF-7D51B7BC0541}" dt="2022-04-24T11:03:56.692" v="1236" actId="20577"/>
        <pc:sldMkLst>
          <pc:docMk/>
          <pc:sldMk cId="2286557877" sldId="548"/>
        </pc:sldMkLst>
        <pc:spChg chg="mod">
          <ac:chgData name="Elina Nissinen" userId="31eb79d7-3917-40ab-82a6-a84d690a8340" providerId="ADAL" clId="{012B55E8-978F-43A8-90BF-7D51B7BC0541}" dt="2022-04-24T11:03:56.692" v="1236" actId="20577"/>
          <ac:spMkLst>
            <pc:docMk/>
            <pc:sldMk cId="2286557877" sldId="548"/>
            <ac:spMk id="3" creationId="{0904B6F1-8236-E734-7D34-81E5AA2268A8}"/>
          </ac:spMkLst>
        </pc:spChg>
        <pc:spChg chg="del mod">
          <ac:chgData name="Elina Nissinen" userId="31eb79d7-3917-40ab-82a6-a84d690a8340" providerId="ADAL" clId="{012B55E8-978F-43A8-90BF-7D51B7BC0541}" dt="2022-04-24T10:58:52.977" v="1111" actId="478"/>
          <ac:spMkLst>
            <pc:docMk/>
            <pc:sldMk cId="2286557877" sldId="548"/>
            <ac:spMk id="4" creationId="{0407D848-234E-37B0-62F3-144ECC368821}"/>
          </ac:spMkLst>
        </pc:spChg>
        <pc:spChg chg="del">
          <ac:chgData name="Elina Nissinen" userId="31eb79d7-3917-40ab-82a6-a84d690a8340" providerId="ADAL" clId="{012B55E8-978F-43A8-90BF-7D51B7BC0541}" dt="2022-04-24T10:07:26.689" v="142" actId="478"/>
          <ac:spMkLst>
            <pc:docMk/>
            <pc:sldMk cId="2286557877" sldId="548"/>
            <ac:spMk id="5" creationId="{BFC76568-BE5F-D56B-1145-7FE6EC57CDC2}"/>
          </ac:spMkLst>
        </pc:spChg>
        <pc:spChg chg="del">
          <ac:chgData name="Elina Nissinen" userId="31eb79d7-3917-40ab-82a6-a84d690a8340" providerId="ADAL" clId="{012B55E8-978F-43A8-90BF-7D51B7BC0541}" dt="2022-04-24T10:58:49.292" v="1109" actId="478"/>
          <ac:spMkLst>
            <pc:docMk/>
            <pc:sldMk cId="2286557877" sldId="548"/>
            <ac:spMk id="6" creationId="{95A743FA-B1E7-E508-F4E3-18159A87BAC6}"/>
          </ac:spMkLst>
        </pc:spChg>
        <pc:picChg chg="add mod">
          <ac:chgData name="Elina Nissinen" userId="31eb79d7-3917-40ab-82a6-a84d690a8340" providerId="ADAL" clId="{012B55E8-978F-43A8-90BF-7D51B7BC0541}" dt="2022-04-24T10:57:33.197" v="1100" actId="1076"/>
          <ac:picMkLst>
            <pc:docMk/>
            <pc:sldMk cId="2286557877" sldId="548"/>
            <ac:picMk id="7" creationId="{D95499A6-A0BB-41C8-A77C-C56E19136D48}"/>
          </ac:picMkLst>
        </pc:picChg>
      </pc:sldChg>
      <pc:sldChg chg="addSp delSp modSp">
        <pc:chgData name="Elina Nissinen" userId="31eb79d7-3917-40ab-82a6-a84d690a8340" providerId="ADAL" clId="{012B55E8-978F-43A8-90BF-7D51B7BC0541}" dt="2022-04-24T10:58:58.502" v="1115" actId="478"/>
        <pc:sldMkLst>
          <pc:docMk/>
          <pc:sldMk cId="4137946744" sldId="549"/>
        </pc:sldMkLst>
        <pc:spChg chg="mod">
          <ac:chgData name="Elina Nissinen" userId="31eb79d7-3917-40ab-82a6-a84d690a8340" providerId="ADAL" clId="{012B55E8-978F-43A8-90BF-7D51B7BC0541}" dt="2022-04-24T10:04:03.300" v="56" actId="27636"/>
          <ac:spMkLst>
            <pc:docMk/>
            <pc:sldMk cId="4137946744" sldId="549"/>
            <ac:spMk id="3" creationId="{2D4EEAC7-ECB9-F0F5-71DF-A470A707319F}"/>
          </ac:spMkLst>
        </pc:spChg>
        <pc:spChg chg="del mod">
          <ac:chgData name="Elina Nissinen" userId="31eb79d7-3917-40ab-82a6-a84d690a8340" providerId="ADAL" clId="{012B55E8-978F-43A8-90BF-7D51B7BC0541}" dt="2022-04-24T10:58:57.314" v="1113" actId="478"/>
          <ac:spMkLst>
            <pc:docMk/>
            <pc:sldMk cId="4137946744" sldId="549"/>
            <ac:spMk id="4" creationId="{E8D89EE7-B8F2-7E98-4C99-13AD82268F2F}"/>
          </ac:spMkLst>
        </pc:spChg>
        <pc:spChg chg="add del">
          <ac:chgData name="Elina Nissinen" userId="31eb79d7-3917-40ab-82a6-a84d690a8340" providerId="ADAL" clId="{012B55E8-978F-43A8-90BF-7D51B7BC0541}" dt="2022-04-24T10:07:55.133" v="148" actId="478"/>
          <ac:spMkLst>
            <pc:docMk/>
            <pc:sldMk cId="4137946744" sldId="549"/>
            <ac:spMk id="5" creationId="{FE552CE0-B989-27A1-C3F0-CEAAE813071B}"/>
          </ac:spMkLst>
        </pc:spChg>
        <pc:spChg chg="del mod">
          <ac:chgData name="Elina Nissinen" userId="31eb79d7-3917-40ab-82a6-a84d690a8340" providerId="ADAL" clId="{012B55E8-978F-43A8-90BF-7D51B7BC0541}" dt="2022-04-24T10:58:58.502" v="1115" actId="478"/>
          <ac:spMkLst>
            <pc:docMk/>
            <pc:sldMk cId="4137946744" sldId="549"/>
            <ac:spMk id="6" creationId="{9C88DD28-CEDB-2A66-3706-B39C3C38C349}"/>
          </ac:spMkLst>
        </pc:spChg>
        <pc:picChg chg="add mod">
          <ac:chgData name="Elina Nissinen" userId="31eb79d7-3917-40ab-82a6-a84d690a8340" providerId="ADAL" clId="{012B55E8-978F-43A8-90BF-7D51B7BC0541}" dt="2022-04-24T10:04:11.857" v="59" actId="14100"/>
          <ac:picMkLst>
            <pc:docMk/>
            <pc:sldMk cId="4137946744" sldId="549"/>
            <ac:picMk id="7" creationId="{C7DD49CA-69AF-4247-B388-BEEA720B6C42}"/>
          </ac:picMkLst>
        </pc:picChg>
        <pc:picChg chg="add">
          <ac:chgData name="Elina Nissinen" userId="31eb79d7-3917-40ab-82a6-a84d690a8340" providerId="ADAL" clId="{012B55E8-978F-43A8-90BF-7D51B7BC0541}" dt="2022-04-24T10:08:23.732" v="152"/>
          <ac:picMkLst>
            <pc:docMk/>
            <pc:sldMk cId="4137946744" sldId="549"/>
            <ac:picMk id="8" creationId="{336E73B6-18FA-42A3-A4C1-C5513FD31681}"/>
          </ac:picMkLst>
        </pc:picChg>
      </pc:sldChg>
      <pc:sldChg chg="add del">
        <pc:chgData name="Elina Nissinen" userId="31eb79d7-3917-40ab-82a6-a84d690a8340" providerId="ADAL" clId="{012B55E8-978F-43A8-90BF-7D51B7BC0541}" dt="2022-04-24T10:26:45.946" v="196" actId="2696"/>
        <pc:sldMkLst>
          <pc:docMk/>
          <pc:sldMk cId="25694497" sldId="550"/>
        </pc:sldMkLst>
      </pc:sldChg>
      <pc:sldChg chg="delSp modSp add">
        <pc:chgData name="Elina Nissinen" userId="31eb79d7-3917-40ab-82a6-a84d690a8340" providerId="ADAL" clId="{012B55E8-978F-43A8-90BF-7D51B7BC0541}" dt="2022-04-24T10:27:22.276" v="226" actId="1076"/>
        <pc:sldMkLst>
          <pc:docMk/>
          <pc:sldMk cId="1994177217" sldId="551"/>
        </pc:sldMkLst>
        <pc:spChg chg="mod">
          <ac:chgData name="Elina Nissinen" userId="31eb79d7-3917-40ab-82a6-a84d690a8340" providerId="ADAL" clId="{012B55E8-978F-43A8-90BF-7D51B7BC0541}" dt="2022-04-24T10:26:53.282" v="220" actId="20577"/>
          <ac:spMkLst>
            <pc:docMk/>
            <pc:sldMk cId="1994177217" sldId="551"/>
            <ac:spMk id="2" creationId="{00000000-0000-0000-0000-000000000000}"/>
          </ac:spMkLst>
        </pc:spChg>
        <pc:spChg chg="del mod">
          <ac:chgData name="Elina Nissinen" userId="31eb79d7-3917-40ab-82a6-a84d690a8340" providerId="ADAL" clId="{012B55E8-978F-43A8-90BF-7D51B7BC0541}" dt="2022-04-24T10:27:08.690" v="223" actId="478"/>
          <ac:spMkLst>
            <pc:docMk/>
            <pc:sldMk cId="1994177217" sldId="551"/>
            <ac:spMk id="6" creationId="{C2F74F57-A8F9-4FEA-877A-0FDC26C259E2}"/>
          </ac:spMkLst>
        </pc:spChg>
        <pc:picChg chg="mod">
          <ac:chgData name="Elina Nissinen" userId="31eb79d7-3917-40ab-82a6-a84d690a8340" providerId="ADAL" clId="{012B55E8-978F-43A8-90BF-7D51B7BC0541}" dt="2022-04-24T10:27:22.276" v="226" actId="1076"/>
          <ac:picMkLst>
            <pc:docMk/>
            <pc:sldMk cId="1994177217" sldId="551"/>
            <ac:picMk id="3" creationId="{BA3098DB-0DFF-4891-B59C-C094B8EE1DF7}"/>
          </ac:picMkLst>
        </pc:picChg>
        <pc:picChg chg="del">
          <ac:chgData name="Elina Nissinen" userId="31eb79d7-3917-40ab-82a6-a84d690a8340" providerId="ADAL" clId="{012B55E8-978F-43A8-90BF-7D51B7BC0541}" dt="2022-04-24T10:26:47.745" v="197" actId="478"/>
          <ac:picMkLst>
            <pc:docMk/>
            <pc:sldMk cId="1994177217" sldId="551"/>
            <ac:picMk id="7" creationId="{BA89E91B-28BE-49BA-82EF-2E321E23B82E}"/>
          </ac:picMkLst>
        </pc:picChg>
        <pc:picChg chg="del">
          <ac:chgData name="Elina Nissinen" userId="31eb79d7-3917-40ab-82a6-a84d690a8340" providerId="ADAL" clId="{012B55E8-978F-43A8-90BF-7D51B7BC0541}" dt="2022-04-24T10:26:48.655" v="198" actId="478"/>
          <ac:picMkLst>
            <pc:docMk/>
            <pc:sldMk cId="1994177217" sldId="551"/>
            <ac:picMk id="8" creationId="{3F5C4BA9-294D-446A-BFED-F369EC5952B0}"/>
          </ac:picMkLst>
        </pc:picChg>
      </pc:sldChg>
      <pc:sldChg chg="addSp delSp modSp add">
        <pc:chgData name="Elina Nissinen" userId="31eb79d7-3917-40ab-82a6-a84d690a8340" providerId="ADAL" clId="{012B55E8-978F-43A8-90BF-7D51B7BC0541}" dt="2022-04-24T11:04:01.687" v="1247" actId="20577"/>
        <pc:sldMkLst>
          <pc:docMk/>
          <pc:sldMk cId="4159181569" sldId="552"/>
        </pc:sldMkLst>
        <pc:spChg chg="mod">
          <ac:chgData name="Elina Nissinen" userId="31eb79d7-3917-40ab-82a6-a84d690a8340" providerId="ADAL" clId="{012B55E8-978F-43A8-90BF-7D51B7BC0541}" dt="2022-04-24T11:04:01.687" v="1247" actId="20577"/>
          <ac:spMkLst>
            <pc:docMk/>
            <pc:sldMk cId="4159181569" sldId="552"/>
            <ac:spMk id="2" creationId="{41279D0B-4F97-4160-8BC2-E8735BEE5DA1}"/>
          </ac:spMkLst>
        </pc:spChg>
        <pc:spChg chg="mod">
          <ac:chgData name="Elina Nissinen" userId="31eb79d7-3917-40ab-82a6-a84d690a8340" providerId="ADAL" clId="{012B55E8-978F-43A8-90BF-7D51B7BC0541}" dt="2022-04-24T11:03:17.828" v="1233" actId="20577"/>
          <ac:spMkLst>
            <pc:docMk/>
            <pc:sldMk cId="4159181569" sldId="552"/>
            <ac:spMk id="3" creationId="{DC710AD9-0187-4F47-8BDD-8D93D113FA22}"/>
          </ac:spMkLst>
        </pc:spChg>
        <pc:spChg chg="del">
          <ac:chgData name="Elina Nissinen" userId="31eb79d7-3917-40ab-82a6-a84d690a8340" providerId="ADAL" clId="{012B55E8-978F-43A8-90BF-7D51B7BC0541}" dt="2022-04-24T10:58:46.002" v="1108" actId="478"/>
          <ac:spMkLst>
            <pc:docMk/>
            <pc:sldMk cId="4159181569" sldId="552"/>
            <ac:spMk id="4" creationId="{56B8B678-4A62-48B0-9F6A-4937411CB724}"/>
          </ac:spMkLst>
        </pc:spChg>
        <pc:spChg chg="del">
          <ac:chgData name="Elina Nissinen" userId="31eb79d7-3917-40ab-82a6-a84d690a8340" providerId="ADAL" clId="{012B55E8-978F-43A8-90BF-7D51B7BC0541}" dt="2022-04-24T10:57:45.006" v="1102" actId="478"/>
          <ac:spMkLst>
            <pc:docMk/>
            <pc:sldMk cId="4159181569" sldId="552"/>
            <ac:spMk id="5" creationId="{FF8C1B60-01AF-4655-AD24-6335440AF591}"/>
          </ac:spMkLst>
        </pc:spChg>
        <pc:spChg chg="del mod">
          <ac:chgData name="Elina Nissinen" userId="31eb79d7-3917-40ab-82a6-a84d690a8340" providerId="ADAL" clId="{012B55E8-978F-43A8-90BF-7D51B7BC0541}" dt="2022-04-24T10:58:44.366" v="1107" actId="478"/>
          <ac:spMkLst>
            <pc:docMk/>
            <pc:sldMk cId="4159181569" sldId="552"/>
            <ac:spMk id="6" creationId="{F1559D06-E88E-4696-8F65-A82C7F27B07B}"/>
          </ac:spMkLst>
        </pc:spChg>
        <pc:picChg chg="add">
          <ac:chgData name="Elina Nissinen" userId="31eb79d7-3917-40ab-82a6-a84d690a8340" providerId="ADAL" clId="{012B55E8-978F-43A8-90BF-7D51B7BC0541}" dt="2022-04-24T10:57:35.867" v="1101"/>
          <ac:picMkLst>
            <pc:docMk/>
            <pc:sldMk cId="4159181569" sldId="552"/>
            <ac:picMk id="7" creationId="{34FB8367-5B1D-42E0-9AE2-8636A2DD3B95}"/>
          </ac:picMkLst>
        </pc:picChg>
      </pc:sldChg>
    </pc:docChg>
  </pc:docChgLst>
  <pc:docChgLst>
    <pc:chgData name="Tuominen Mika" userId="5e1fd4a1-95ad-4d03-8f0c-9aba2db27dce" providerId="ADAL" clId="{0E407C2F-D66C-4659-AC60-CE4446852BF7}"/>
    <pc:docChg chg="modSld sldOrd">
      <pc:chgData name="Tuominen Mika" userId="5e1fd4a1-95ad-4d03-8f0c-9aba2db27dce" providerId="ADAL" clId="{0E407C2F-D66C-4659-AC60-CE4446852BF7}" dt="2022-04-25T09:22:43.271" v="31" actId="20577"/>
      <pc:docMkLst>
        <pc:docMk/>
      </pc:docMkLst>
      <pc:sldChg chg="ord">
        <pc:chgData name="Tuominen Mika" userId="5e1fd4a1-95ad-4d03-8f0c-9aba2db27dce" providerId="ADAL" clId="{0E407C2F-D66C-4659-AC60-CE4446852BF7}" dt="2022-04-25T09:22:34.207" v="0" actId="20578"/>
        <pc:sldMkLst>
          <pc:docMk/>
          <pc:sldMk cId="2286557877" sldId="548"/>
        </pc:sldMkLst>
      </pc:sldChg>
      <pc:sldChg chg="modSp mod">
        <pc:chgData name="Tuominen Mika" userId="5e1fd4a1-95ad-4d03-8f0c-9aba2db27dce" providerId="ADAL" clId="{0E407C2F-D66C-4659-AC60-CE4446852BF7}" dt="2022-04-25T09:22:43.271" v="31" actId="20577"/>
        <pc:sldMkLst>
          <pc:docMk/>
          <pc:sldMk cId="4159181569" sldId="552"/>
        </pc:sldMkLst>
        <pc:spChg chg="mod">
          <ac:chgData name="Tuominen Mika" userId="5e1fd4a1-95ad-4d03-8f0c-9aba2db27dce" providerId="ADAL" clId="{0E407C2F-D66C-4659-AC60-CE4446852BF7}" dt="2022-04-25T09:22:43.271" v="31" actId="20577"/>
          <ac:spMkLst>
            <pc:docMk/>
            <pc:sldMk cId="4159181569" sldId="552"/>
            <ac:spMk id="3" creationId="{DC710AD9-0187-4F47-8BDD-8D93D113FA22}"/>
          </ac:spMkLst>
        </pc:spChg>
      </pc:sldChg>
    </pc:docChg>
  </pc:docChgLst>
  <pc:docChgLst>
    <pc:chgData name="Hautaniemi Päivi (ELY)" userId="f3562af3-1d79-4608-b8b9-3b5813016367" providerId="ADAL" clId="{BD309CA1-4165-4395-BE27-5FA5FE86B7E3}"/>
    <pc:docChg chg="addSld delSld">
      <pc:chgData name="Hautaniemi Päivi (ELY)" userId="f3562af3-1d79-4608-b8b9-3b5813016367" providerId="ADAL" clId="{BD309CA1-4165-4395-BE27-5FA5FE86B7E3}" dt="2022-04-22T06:08:14.721" v="3" actId="47"/>
      <pc:docMkLst>
        <pc:docMk/>
      </pc:docMkLst>
    </pc:docChg>
  </pc:docChgLst>
  <pc:docChgLst>
    <pc:chgData name="Hautaniemi Päivi (ELY)" userId="S::paivi.hautaniemi_ely-keskus.fi#ext#@destia.onmicrosoft.com::c0e0d0b6-9cf3-4c70-8e8a-de75d54aff63" providerId="AD" clId="Web-{64A1304D-604A-414B-B95C-FF7ADF9C4A42}"/>
    <pc:docChg chg="modSld">
      <pc:chgData name="Hautaniemi Päivi (ELY)" userId="S::paivi.hautaniemi_ely-keskus.fi#ext#@destia.onmicrosoft.com::c0e0d0b6-9cf3-4c70-8e8a-de75d54aff63" providerId="AD" clId="Web-{64A1304D-604A-414B-B95C-FF7ADF9C4A42}" dt="2022-04-26T07:55:09.085" v="30" actId="20577"/>
      <pc:docMkLst>
        <pc:docMk/>
      </pc:docMkLst>
      <pc:sldChg chg="modSp">
        <pc:chgData name="Hautaniemi Päivi (ELY)" userId="S::paivi.hautaniemi_ely-keskus.fi#ext#@destia.onmicrosoft.com::c0e0d0b6-9cf3-4c70-8e8a-de75d54aff63" providerId="AD" clId="Web-{64A1304D-604A-414B-B95C-FF7ADF9C4A42}" dt="2022-04-26T07:35:06.451" v="18" actId="20577"/>
        <pc:sldMkLst>
          <pc:docMk/>
          <pc:sldMk cId="2860468637" sldId="260"/>
        </pc:sldMkLst>
        <pc:spChg chg="mod">
          <ac:chgData name="Hautaniemi Päivi (ELY)" userId="S::paivi.hautaniemi_ely-keskus.fi#ext#@destia.onmicrosoft.com::c0e0d0b6-9cf3-4c70-8e8a-de75d54aff63" providerId="AD" clId="Web-{64A1304D-604A-414B-B95C-FF7ADF9C4A42}" dt="2022-04-26T07:35:06.451" v="18" actId="20577"/>
          <ac:spMkLst>
            <pc:docMk/>
            <pc:sldMk cId="2860468637" sldId="260"/>
            <ac:spMk id="9" creationId="{88ED5D26-A316-4420-8821-0A016614E6A2}"/>
          </ac:spMkLst>
        </pc:spChg>
      </pc:sldChg>
      <pc:sldChg chg="modSp">
        <pc:chgData name="Hautaniemi Päivi (ELY)" userId="S::paivi.hautaniemi_ely-keskus.fi#ext#@destia.onmicrosoft.com::c0e0d0b6-9cf3-4c70-8e8a-de75d54aff63" providerId="AD" clId="Web-{64A1304D-604A-414B-B95C-FF7ADF9C4A42}" dt="2022-04-26T07:55:09.085" v="30" actId="20577"/>
        <pc:sldMkLst>
          <pc:docMk/>
          <pc:sldMk cId="2286557877" sldId="548"/>
        </pc:sldMkLst>
        <pc:spChg chg="mod">
          <ac:chgData name="Hautaniemi Päivi (ELY)" userId="S::paivi.hautaniemi_ely-keskus.fi#ext#@destia.onmicrosoft.com::c0e0d0b6-9cf3-4c70-8e8a-de75d54aff63" providerId="AD" clId="Web-{64A1304D-604A-414B-B95C-FF7ADF9C4A42}" dt="2022-04-26T07:55:09.085" v="30" actId="20577"/>
          <ac:spMkLst>
            <pc:docMk/>
            <pc:sldMk cId="2286557877" sldId="548"/>
            <ac:spMk id="3" creationId="{0904B6F1-8236-E734-7D34-81E5AA2268A8}"/>
          </ac:spMkLst>
        </pc:spChg>
      </pc:sldChg>
    </pc:docChg>
  </pc:docChgLst>
  <pc:docChgLst>
    <pc:chgData name="Heininen Antti" userId="b3f08c9e-4b6a-48e9-a186-9b2511e5fd7e" providerId="ADAL" clId="{5CA60A83-3298-4756-A4F4-104286B3737E}"/>
    <pc:docChg chg="undo custSel addSld delSld modSld">
      <pc:chgData name="Heininen Antti" userId="b3f08c9e-4b6a-48e9-a186-9b2511e5fd7e" providerId="ADAL" clId="{5CA60A83-3298-4756-A4F4-104286B3737E}" dt="2022-04-25T07:27:36.361" v="197" actId="20577"/>
      <pc:docMkLst>
        <pc:docMk/>
      </pc:docMkLst>
      <pc:sldChg chg="add del">
        <pc:chgData name="Heininen Antti" userId="b3f08c9e-4b6a-48e9-a186-9b2511e5fd7e" providerId="ADAL" clId="{5CA60A83-3298-4756-A4F4-104286B3737E}" dt="2022-04-25T06:57:25.864" v="4" actId="47"/>
        <pc:sldMkLst>
          <pc:docMk/>
          <pc:sldMk cId="4278197998" sldId="543"/>
        </pc:sldMkLst>
      </pc:sldChg>
      <pc:sldChg chg="add del">
        <pc:chgData name="Heininen Antti" userId="b3f08c9e-4b6a-48e9-a186-9b2511e5fd7e" providerId="ADAL" clId="{5CA60A83-3298-4756-A4F4-104286B3737E}" dt="2022-04-25T06:56:56.846" v="2"/>
        <pc:sldMkLst>
          <pc:docMk/>
          <pc:sldMk cId="3119346316" sldId="864"/>
        </pc:sldMkLst>
      </pc:sldChg>
      <pc:sldChg chg="add del">
        <pc:chgData name="Heininen Antti" userId="b3f08c9e-4b6a-48e9-a186-9b2511e5fd7e" providerId="ADAL" clId="{5CA60A83-3298-4756-A4F4-104286B3737E}" dt="2022-04-25T06:56:56.846" v="2"/>
        <pc:sldMkLst>
          <pc:docMk/>
          <pc:sldMk cId="3043339728" sldId="873"/>
        </pc:sldMkLst>
      </pc:sldChg>
      <pc:sldChg chg="add del">
        <pc:chgData name="Heininen Antti" userId="b3f08c9e-4b6a-48e9-a186-9b2511e5fd7e" providerId="ADAL" clId="{5CA60A83-3298-4756-A4F4-104286B3737E}" dt="2022-04-25T06:56:56.846" v="2"/>
        <pc:sldMkLst>
          <pc:docMk/>
          <pc:sldMk cId="3177215837" sldId="874"/>
        </pc:sldMkLst>
      </pc:sldChg>
      <pc:sldChg chg="add del">
        <pc:chgData name="Heininen Antti" userId="b3f08c9e-4b6a-48e9-a186-9b2511e5fd7e" providerId="ADAL" clId="{5CA60A83-3298-4756-A4F4-104286B3737E}" dt="2022-04-25T06:56:56.846" v="2"/>
        <pc:sldMkLst>
          <pc:docMk/>
          <pc:sldMk cId="1430310630" sldId="879"/>
        </pc:sldMkLst>
      </pc:sldChg>
      <pc:sldChg chg="add del">
        <pc:chgData name="Heininen Antti" userId="b3f08c9e-4b6a-48e9-a186-9b2511e5fd7e" providerId="ADAL" clId="{5CA60A83-3298-4756-A4F4-104286B3737E}" dt="2022-04-25T06:56:56.846" v="2"/>
        <pc:sldMkLst>
          <pc:docMk/>
          <pc:sldMk cId="473415795" sldId="884"/>
        </pc:sldMkLst>
      </pc:sldChg>
      <pc:sldChg chg="add del">
        <pc:chgData name="Heininen Antti" userId="b3f08c9e-4b6a-48e9-a186-9b2511e5fd7e" providerId="ADAL" clId="{5CA60A83-3298-4756-A4F4-104286B3737E}" dt="2022-04-25T06:56:56.846" v="2"/>
        <pc:sldMkLst>
          <pc:docMk/>
          <pc:sldMk cId="3259048369" sldId="885"/>
        </pc:sldMkLst>
      </pc:sldChg>
      <pc:sldChg chg="add del">
        <pc:chgData name="Heininen Antti" userId="b3f08c9e-4b6a-48e9-a186-9b2511e5fd7e" providerId="ADAL" clId="{5CA60A83-3298-4756-A4F4-104286B3737E}" dt="2022-04-25T06:56:56.846" v="2"/>
        <pc:sldMkLst>
          <pc:docMk/>
          <pc:sldMk cId="2097587847" sldId="886"/>
        </pc:sldMkLst>
      </pc:sldChg>
      <pc:sldChg chg="add del">
        <pc:chgData name="Heininen Antti" userId="b3f08c9e-4b6a-48e9-a186-9b2511e5fd7e" providerId="ADAL" clId="{5CA60A83-3298-4756-A4F4-104286B3737E}" dt="2022-04-25T06:56:56.846" v="2"/>
        <pc:sldMkLst>
          <pc:docMk/>
          <pc:sldMk cId="2985643524" sldId="887"/>
        </pc:sldMkLst>
      </pc:sldChg>
      <pc:sldChg chg="modSp add del mod">
        <pc:chgData name="Heininen Antti" userId="b3f08c9e-4b6a-48e9-a186-9b2511e5fd7e" providerId="ADAL" clId="{5CA60A83-3298-4756-A4F4-104286B3737E}" dt="2022-04-25T07:27:36.361" v="197" actId="20577"/>
        <pc:sldMkLst>
          <pc:docMk/>
          <pc:sldMk cId="1239292556" sldId="898"/>
        </pc:sldMkLst>
        <pc:spChg chg="mod">
          <ac:chgData name="Heininen Antti" userId="b3f08c9e-4b6a-48e9-a186-9b2511e5fd7e" providerId="ADAL" clId="{5CA60A83-3298-4756-A4F4-104286B3737E}" dt="2022-04-25T07:27:36.361" v="197" actId="20577"/>
          <ac:spMkLst>
            <pc:docMk/>
            <pc:sldMk cId="1239292556" sldId="898"/>
            <ac:spMk id="3" creationId="{EDFC2764-FCDB-478E-AB63-812076004651}"/>
          </ac:spMkLst>
        </pc:spChg>
        <pc:picChg chg="mod">
          <ac:chgData name="Heininen Antti" userId="b3f08c9e-4b6a-48e9-a186-9b2511e5fd7e" providerId="ADAL" clId="{5CA60A83-3298-4756-A4F4-104286B3737E}" dt="2022-04-25T07:07:24.154" v="14" actId="1076"/>
          <ac:picMkLst>
            <pc:docMk/>
            <pc:sldMk cId="1239292556" sldId="898"/>
            <ac:picMk id="8" creationId="{21BEBF55-5DAE-42EF-A3DE-D8E0CC845BD6}"/>
          </ac:picMkLst>
        </pc:picChg>
      </pc:sldChg>
    </pc:docChg>
  </pc:docChgLst>
  <pc:docChgLst>
    <pc:chgData name="Hautaniemi Päivi (ELY)" userId="S::paivi.hautaniemi_ely-keskus.fi#ext#@destia.onmicrosoft.com::c0e0d0b6-9cf3-4c70-8e8a-de75d54aff63" providerId="AD" clId="Web-{C60DF216-DFB6-406D-8651-E26B57ACF161}"/>
    <pc:docChg chg="addSld delSld">
      <pc:chgData name="Hautaniemi Päivi (ELY)" userId="S::paivi.hautaniemi_ely-keskus.fi#ext#@destia.onmicrosoft.com::c0e0d0b6-9cf3-4c70-8e8a-de75d54aff63" providerId="AD" clId="Web-{C60DF216-DFB6-406D-8651-E26B57ACF161}" dt="2022-04-21T15:36:14.852" v="1"/>
      <pc:docMkLst>
        <pc:docMk/>
      </pc:docMkLst>
    </pc:docChg>
  </pc:docChgLst>
  <pc:docChgLst>
    <pc:chgData name="Tuominen Mika" userId="S::mika.tuominen@destia.fi::5e1fd4a1-95ad-4d03-8f0c-9aba2db27dce" providerId="AD" clId="Web-{9650F855-9BA6-4517-A0DA-BB6A23E8A30F}"/>
    <pc:docChg chg="delSld modSld">
      <pc:chgData name="Tuominen Mika" userId="S::mika.tuominen@destia.fi::5e1fd4a1-95ad-4d03-8f0c-9aba2db27dce" providerId="AD" clId="Web-{9650F855-9BA6-4517-A0DA-BB6A23E8A30F}" dt="2022-04-25T08:14:16.879" v="340"/>
      <pc:docMkLst>
        <pc:docMk/>
      </pc:docMkLst>
      <pc:sldChg chg="del">
        <pc:chgData name="Tuominen Mika" userId="S::mika.tuominen@destia.fi::5e1fd4a1-95ad-4d03-8f0c-9aba2db27dce" providerId="AD" clId="Web-{9650F855-9BA6-4517-A0DA-BB6A23E8A30F}" dt="2022-04-25T07:49:57.837" v="0"/>
        <pc:sldMkLst>
          <pc:docMk/>
          <pc:sldMk cId="715459328" sldId="542"/>
        </pc:sldMkLst>
      </pc:sldChg>
      <pc:sldChg chg="del">
        <pc:chgData name="Tuominen Mika" userId="S::mika.tuominen@destia.fi::5e1fd4a1-95ad-4d03-8f0c-9aba2db27dce" providerId="AD" clId="Web-{9650F855-9BA6-4517-A0DA-BB6A23E8A30F}" dt="2022-04-25T07:50:01.540" v="2"/>
        <pc:sldMkLst>
          <pc:docMk/>
          <pc:sldMk cId="4278197998" sldId="543"/>
        </pc:sldMkLst>
      </pc:sldChg>
      <pc:sldChg chg="del">
        <pc:chgData name="Tuominen Mika" userId="S::mika.tuominen@destia.fi::5e1fd4a1-95ad-4d03-8f0c-9aba2db27dce" providerId="AD" clId="Web-{9650F855-9BA6-4517-A0DA-BB6A23E8A30F}" dt="2022-04-25T07:50:00.259" v="1"/>
        <pc:sldMkLst>
          <pc:docMk/>
          <pc:sldMk cId="1994177217" sldId="551"/>
        </pc:sldMkLst>
      </pc:sldChg>
      <pc:sldChg chg="modSp">
        <pc:chgData name="Tuominen Mika" userId="S::mika.tuominen@destia.fi::5e1fd4a1-95ad-4d03-8f0c-9aba2db27dce" providerId="AD" clId="Web-{9650F855-9BA6-4517-A0DA-BB6A23E8A30F}" dt="2022-04-25T07:57:23.142" v="8" actId="20577"/>
        <pc:sldMkLst>
          <pc:docMk/>
          <pc:sldMk cId="3177215837" sldId="874"/>
        </pc:sldMkLst>
        <pc:spChg chg="mod">
          <ac:chgData name="Tuominen Mika" userId="S::mika.tuominen@destia.fi::5e1fd4a1-95ad-4d03-8f0c-9aba2db27dce" providerId="AD" clId="Web-{9650F855-9BA6-4517-A0DA-BB6A23E8A30F}" dt="2022-04-25T07:57:23.142" v="8" actId="20577"/>
          <ac:spMkLst>
            <pc:docMk/>
            <pc:sldMk cId="3177215837" sldId="874"/>
            <ac:spMk id="127" creationId="{5527B30E-AF1D-48C2-9EB3-9378E1CD7D23}"/>
          </ac:spMkLst>
        </pc:spChg>
      </pc:sldChg>
      <pc:sldChg chg="modSp">
        <pc:chgData name="Tuominen Mika" userId="S::mika.tuominen@destia.fi::5e1fd4a1-95ad-4d03-8f0c-9aba2db27dce" providerId="AD" clId="Web-{9650F855-9BA6-4517-A0DA-BB6A23E8A30F}" dt="2022-04-25T08:14:16.879" v="340"/>
        <pc:sldMkLst>
          <pc:docMk/>
          <pc:sldMk cId="3259048369" sldId="885"/>
        </pc:sldMkLst>
        <pc:graphicFrameChg chg="mod modGraphic">
          <ac:chgData name="Tuominen Mika" userId="S::mika.tuominen@destia.fi::5e1fd4a1-95ad-4d03-8f0c-9aba2db27dce" providerId="AD" clId="Web-{9650F855-9BA6-4517-A0DA-BB6A23E8A30F}" dt="2022-04-25T08:14:16.879" v="340"/>
          <ac:graphicFrameMkLst>
            <pc:docMk/>
            <pc:sldMk cId="3259048369" sldId="885"/>
            <ac:graphicFrameMk id="6" creationId="{77A30018-7F08-4438-8B69-E9B31B26B445}"/>
          </ac:graphicFrameMkLst>
        </pc:graphicFrameChg>
      </pc:sldChg>
    </pc:docChg>
  </pc:docChgLst>
  <pc:docChgLst>
    <pc:chgData name="Keränen Ville" userId="S::ville.keranen_ii.fi#ext#@destia.onmicrosoft.com::29100c9e-f1ae-4a42-ac1f-f3eeb7ec7e4d" providerId="AD" clId="Web-{6E583D69-4E46-4D81-B507-C58E99CD8A5B}"/>
    <pc:docChg chg="modSld">
      <pc:chgData name="Keränen Ville" userId="S::ville.keranen_ii.fi#ext#@destia.onmicrosoft.com::29100c9e-f1ae-4a42-ac1f-f3eeb7ec7e4d" providerId="AD" clId="Web-{6E583D69-4E46-4D81-B507-C58E99CD8A5B}" dt="2022-04-26T13:23:14.579" v="82" actId="20577"/>
      <pc:docMkLst>
        <pc:docMk/>
      </pc:docMkLst>
      <pc:sldChg chg="addSp modSp">
        <pc:chgData name="Keränen Ville" userId="S::ville.keranen_ii.fi#ext#@destia.onmicrosoft.com::29100c9e-f1ae-4a42-ac1f-f3eeb7ec7e4d" providerId="AD" clId="Web-{6E583D69-4E46-4D81-B507-C58E99CD8A5B}" dt="2022-04-26T12:54:21.111" v="77" actId="1076"/>
        <pc:sldMkLst>
          <pc:docMk/>
          <pc:sldMk cId="1399410474" sldId="374"/>
        </pc:sldMkLst>
        <pc:spChg chg="mod">
          <ac:chgData name="Keränen Ville" userId="S::ville.keranen_ii.fi#ext#@destia.onmicrosoft.com::29100c9e-f1ae-4a42-ac1f-f3eeb7ec7e4d" providerId="AD" clId="Web-{6E583D69-4E46-4D81-B507-C58E99CD8A5B}" dt="2022-04-26T12:53:47.125" v="62" actId="20577"/>
          <ac:spMkLst>
            <pc:docMk/>
            <pc:sldMk cId="1399410474" sldId="374"/>
            <ac:spMk id="2" creationId="{00000000-0000-0000-0000-000000000000}"/>
          </ac:spMkLst>
        </pc:spChg>
        <pc:spChg chg="add mod">
          <ac:chgData name="Keränen Ville" userId="S::ville.keranen_ii.fi#ext#@destia.onmicrosoft.com::29100c9e-f1ae-4a42-ac1f-f3eeb7ec7e4d" providerId="AD" clId="Web-{6E583D69-4E46-4D81-B507-C58E99CD8A5B}" dt="2022-04-26T12:54:21.111" v="77" actId="1076"/>
          <ac:spMkLst>
            <pc:docMk/>
            <pc:sldMk cId="1399410474" sldId="374"/>
            <ac:spMk id="6" creationId="{D32F0E3F-3ADF-44E5-9345-49064117AD65}"/>
          </ac:spMkLst>
        </pc:spChg>
      </pc:sldChg>
      <pc:sldChg chg="modSp">
        <pc:chgData name="Keränen Ville" userId="S::ville.keranen_ii.fi#ext#@destia.onmicrosoft.com::29100c9e-f1ae-4a42-ac1f-f3eeb7ec7e4d" providerId="AD" clId="Web-{6E583D69-4E46-4D81-B507-C58E99CD8A5B}" dt="2022-04-26T13:23:14.579" v="82" actId="20577"/>
        <pc:sldMkLst>
          <pc:docMk/>
          <pc:sldMk cId="4137946744" sldId="549"/>
        </pc:sldMkLst>
        <pc:spChg chg="mod">
          <ac:chgData name="Keränen Ville" userId="S::ville.keranen_ii.fi#ext#@destia.onmicrosoft.com::29100c9e-f1ae-4a42-ac1f-f3eeb7ec7e4d" providerId="AD" clId="Web-{6E583D69-4E46-4D81-B507-C58E99CD8A5B}" dt="2022-04-26T13:23:14.579" v="82" actId="20577"/>
          <ac:spMkLst>
            <pc:docMk/>
            <pc:sldMk cId="4137946744" sldId="549"/>
            <ac:spMk id="3" creationId="{2D4EEAC7-ECB9-F0F5-71DF-A470A707319F}"/>
          </ac:spMkLst>
        </pc:spChg>
      </pc:sldChg>
    </pc:docChg>
  </pc:docChgLst>
  <pc:docChgLst>
    <pc:chgData name="Raunio, Jaakko" userId="S::jaakko.raunio_sweco.fi#ext#@destia.onmicrosoft.com::d42573cc-e68f-4e71-b72f-5e135050e2ef" providerId="AD" clId="Web-{65F7B625-A621-498D-B247-22DB7533E92C}"/>
    <pc:docChg chg="modSld">
      <pc:chgData name="Raunio, Jaakko" userId="S::jaakko.raunio_sweco.fi#ext#@destia.onmicrosoft.com::d42573cc-e68f-4e71-b72f-5e135050e2ef" providerId="AD" clId="Web-{65F7B625-A621-498D-B247-22DB7533E92C}" dt="2022-04-26T11:24:38.395" v="6" actId="14100"/>
      <pc:docMkLst>
        <pc:docMk/>
      </pc:docMkLst>
      <pc:sldChg chg="modSp">
        <pc:chgData name="Raunio, Jaakko" userId="S::jaakko.raunio_sweco.fi#ext#@destia.onmicrosoft.com::d42573cc-e68f-4e71-b72f-5e135050e2ef" providerId="AD" clId="Web-{65F7B625-A621-498D-B247-22DB7533E92C}" dt="2022-04-26T11:24:38.395" v="6" actId="14100"/>
        <pc:sldMkLst>
          <pc:docMk/>
          <pc:sldMk cId="3084095650" sldId="546"/>
        </pc:sldMkLst>
        <pc:picChg chg="mod">
          <ac:chgData name="Raunio, Jaakko" userId="S::jaakko.raunio_sweco.fi#ext#@destia.onmicrosoft.com::d42573cc-e68f-4e71-b72f-5e135050e2ef" providerId="AD" clId="Web-{65F7B625-A621-498D-B247-22DB7533E92C}" dt="2022-04-26T11:24:38.395" v="6" actId="14100"/>
          <ac:picMkLst>
            <pc:docMk/>
            <pc:sldMk cId="3084095650" sldId="546"/>
            <ac:picMk id="3" creationId="{20E3A14A-47D8-0CF0-8C40-7D027987A6C0}"/>
          </ac:picMkLst>
        </pc:picChg>
        <pc:picChg chg="mod">
          <ac:chgData name="Raunio, Jaakko" userId="S::jaakko.raunio_sweco.fi#ext#@destia.onmicrosoft.com::d42573cc-e68f-4e71-b72f-5e135050e2ef" providerId="AD" clId="Web-{65F7B625-A621-498D-B247-22DB7533E92C}" dt="2022-04-26T11:24:31.801" v="4" actId="14100"/>
          <ac:picMkLst>
            <pc:docMk/>
            <pc:sldMk cId="3084095650" sldId="546"/>
            <ac:picMk id="6" creationId="{15B9EEF5-E78A-D3C3-20A2-8DFE5434E914}"/>
          </ac:picMkLst>
        </pc:picChg>
        <pc:picChg chg="mod">
          <ac:chgData name="Raunio, Jaakko" userId="S::jaakko.raunio_sweco.fi#ext#@destia.onmicrosoft.com::d42573cc-e68f-4e71-b72f-5e135050e2ef" providerId="AD" clId="Web-{65F7B625-A621-498D-B247-22DB7533E92C}" dt="2022-04-26T11:24:26.957" v="2" actId="14100"/>
          <ac:picMkLst>
            <pc:docMk/>
            <pc:sldMk cId="3084095650" sldId="546"/>
            <ac:picMk id="7" creationId="{37D6A85A-63E2-4D37-EA7A-D82EE634E733}"/>
          </ac:picMkLst>
        </pc:picChg>
      </pc:sldChg>
      <pc:sldChg chg="modSp">
        <pc:chgData name="Raunio, Jaakko" userId="S::jaakko.raunio_sweco.fi#ext#@destia.onmicrosoft.com::d42573cc-e68f-4e71-b72f-5e135050e2ef" providerId="AD" clId="Web-{65F7B625-A621-498D-B247-22DB7533E92C}" dt="2022-04-26T11:23:42.519" v="0" actId="1076"/>
        <pc:sldMkLst>
          <pc:docMk/>
          <pc:sldMk cId="2286557877" sldId="548"/>
        </pc:sldMkLst>
        <pc:spChg chg="mod">
          <ac:chgData name="Raunio, Jaakko" userId="S::jaakko.raunio_sweco.fi#ext#@destia.onmicrosoft.com::d42573cc-e68f-4e71-b72f-5e135050e2ef" providerId="AD" clId="Web-{65F7B625-A621-498D-B247-22DB7533E92C}" dt="2022-04-26T11:23:42.519" v="0" actId="1076"/>
          <ac:spMkLst>
            <pc:docMk/>
            <pc:sldMk cId="2286557877" sldId="548"/>
            <ac:spMk id="3" creationId="{0904B6F1-8236-E734-7D34-81E5AA2268A8}"/>
          </ac:spMkLst>
        </pc:spChg>
      </pc:sldChg>
    </pc:docChg>
  </pc:docChgLst>
  <pc:docChgLst>
    <pc:chgData name="Lehto, Johanna" userId="14aa159e-f81f-4595-b094-626cc7c950b8" providerId="ADAL" clId="{64C5611B-2470-47C2-B6DF-35869390B71B}"/>
    <pc:docChg chg="modNotesMaster modHandout">
      <pc:chgData name="Lehto, Johanna" userId="14aa159e-f81f-4595-b094-626cc7c950b8" providerId="ADAL" clId="{64C5611B-2470-47C2-B6DF-35869390B71B}" dt="2022-04-26T05:35:31.510" v="0"/>
      <pc:docMkLst>
        <pc:docMk/>
      </pc:docMkLst>
    </pc:docChg>
  </pc:docChgLst>
  <pc:docChgLst>
    <pc:chgData name="Raunio, Jaakko" userId="S::jaakko.raunio_sweco.fi#ext#@destia.onmicrosoft.com::d42573cc-e68f-4e71-b72f-5e135050e2ef" providerId="AD" clId="Web-{FAA89293-E1C7-4936-AB96-77247BE5CF46}"/>
    <pc:docChg chg="modSld">
      <pc:chgData name="Raunio, Jaakko" userId="S::jaakko.raunio_sweco.fi#ext#@destia.onmicrosoft.com::d42573cc-e68f-4e71-b72f-5e135050e2ef" providerId="AD" clId="Web-{FAA89293-E1C7-4936-AB96-77247BE5CF46}" dt="2022-04-26T07:58:28.048" v="29" actId="1076"/>
      <pc:docMkLst>
        <pc:docMk/>
      </pc:docMkLst>
      <pc:sldChg chg="addSp delSp modSp">
        <pc:chgData name="Raunio, Jaakko" userId="S::jaakko.raunio_sweco.fi#ext#@destia.onmicrosoft.com::d42573cc-e68f-4e71-b72f-5e135050e2ef" providerId="AD" clId="Web-{FAA89293-E1C7-4936-AB96-77247BE5CF46}" dt="2022-04-26T07:58:28.048" v="29" actId="1076"/>
        <pc:sldMkLst>
          <pc:docMk/>
          <pc:sldMk cId="3084095650" sldId="546"/>
        </pc:sldMkLst>
        <pc:picChg chg="add mod">
          <ac:chgData name="Raunio, Jaakko" userId="S::jaakko.raunio_sweco.fi#ext#@destia.onmicrosoft.com::d42573cc-e68f-4e71-b72f-5e135050e2ef" providerId="AD" clId="Web-{FAA89293-E1C7-4936-AB96-77247BE5CF46}" dt="2022-04-26T07:58:24.783" v="27" actId="1076"/>
          <ac:picMkLst>
            <pc:docMk/>
            <pc:sldMk cId="3084095650" sldId="546"/>
            <ac:picMk id="3" creationId="{20E3A14A-47D8-0CF0-8C40-7D027987A6C0}"/>
          </ac:picMkLst>
        </pc:picChg>
        <pc:picChg chg="add del mod">
          <ac:chgData name="Raunio, Jaakko" userId="S::jaakko.raunio_sweco.fi#ext#@destia.onmicrosoft.com::d42573cc-e68f-4e71-b72f-5e135050e2ef" providerId="AD" clId="Web-{FAA89293-E1C7-4936-AB96-77247BE5CF46}" dt="2022-04-26T07:55:03.388" v="11"/>
          <ac:picMkLst>
            <pc:docMk/>
            <pc:sldMk cId="3084095650" sldId="546"/>
            <ac:picMk id="5" creationId="{39E753D6-2517-86C1-BDC1-59C5424418E5}"/>
          </ac:picMkLst>
        </pc:picChg>
        <pc:picChg chg="add mod modCrop">
          <ac:chgData name="Raunio, Jaakko" userId="S::jaakko.raunio_sweco.fi#ext#@destia.onmicrosoft.com::d42573cc-e68f-4e71-b72f-5e135050e2ef" providerId="AD" clId="Web-{FAA89293-E1C7-4936-AB96-77247BE5CF46}" dt="2022-04-26T07:58:26.533" v="28" actId="1076"/>
          <ac:picMkLst>
            <pc:docMk/>
            <pc:sldMk cId="3084095650" sldId="546"/>
            <ac:picMk id="6" creationId="{15B9EEF5-E78A-D3C3-20A2-8DFE5434E914}"/>
          </ac:picMkLst>
        </pc:picChg>
        <pc:picChg chg="add mod modCrop">
          <ac:chgData name="Raunio, Jaakko" userId="S::jaakko.raunio_sweco.fi#ext#@destia.onmicrosoft.com::d42573cc-e68f-4e71-b72f-5e135050e2ef" providerId="AD" clId="Web-{FAA89293-E1C7-4936-AB96-77247BE5CF46}" dt="2022-04-26T07:58:28.048" v="29" actId="1076"/>
          <ac:picMkLst>
            <pc:docMk/>
            <pc:sldMk cId="3084095650" sldId="546"/>
            <ac:picMk id="7" creationId="{37D6A85A-63E2-4D37-EA7A-D82EE634E733}"/>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sv-SE">
              <a:latin typeface="Arial" panose="020B0604020202020204" pitchFamily="34" charset="0"/>
              <a:cs typeface="Arial" panose="020B0604020202020204" pitchFamily="34" charset="0"/>
            </a:endParaRPr>
          </a:p>
        </p:txBody>
      </p:sp>
      <p:sp>
        <p:nvSpPr>
          <p:cNvPr id="3" name="Platshållare för datum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46966789-7B4A-4F00-9286-DDD8ED65D568}" type="datetimeFigureOut">
              <a:rPr lang="sv-SE" smtClean="0">
                <a:latin typeface="Arial" panose="020B0604020202020204" pitchFamily="34" charset="0"/>
                <a:cs typeface="Arial" panose="020B0604020202020204" pitchFamily="34" charset="0"/>
              </a:rPr>
              <a:t>2022-04-29</a:t>
            </a:fld>
            <a:endParaRPr lang="sv-SE">
              <a:latin typeface="Arial" panose="020B0604020202020204" pitchFamily="34" charset="0"/>
              <a:cs typeface="Arial" panose="020B0604020202020204" pitchFamily="34" charset="0"/>
            </a:endParaRPr>
          </a:p>
        </p:txBody>
      </p:sp>
      <p:sp>
        <p:nvSpPr>
          <p:cNvPr id="4" name="Platshållare för sidfot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sv-SE">
              <a:latin typeface="Arial" panose="020B0604020202020204" pitchFamily="34" charset="0"/>
              <a:cs typeface="Arial" panose="020B0604020202020204" pitchFamily="34" charset="0"/>
            </a:endParaRPr>
          </a:p>
        </p:txBody>
      </p:sp>
      <p:sp>
        <p:nvSpPr>
          <p:cNvPr id="5" name="Platshållare för bildnumm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45B7E181-C03F-4811-9B36-CB7788F180BA}" type="slidenum">
              <a:rPr lang="sv-SE" smtClean="0">
                <a:latin typeface="Arial" panose="020B0604020202020204" pitchFamily="34" charset="0"/>
                <a:cs typeface="Arial" panose="020B0604020202020204" pitchFamily="34" charset="0"/>
              </a:rPr>
              <a:t>‹#›</a:t>
            </a:fld>
            <a:endParaRPr lang="sv-SE">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973181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sv-SE"/>
          </a:p>
        </p:txBody>
      </p:sp>
      <p:sp>
        <p:nvSpPr>
          <p:cNvPr id="3" name="Platshållare för datum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7F3F61B6-EEAE-45CF-BC26-93497CBA11EE}" type="datetimeFigureOut">
              <a:rPr lang="sv-SE" smtClean="0"/>
              <a:pPr/>
              <a:t>2022-04-29</a:t>
            </a:fld>
            <a:endParaRPr lang="sv-SE"/>
          </a:p>
        </p:txBody>
      </p:sp>
      <p:sp>
        <p:nvSpPr>
          <p:cNvPr id="4" name="Platshållare för bildobjekt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sv-SE"/>
          </a:p>
        </p:txBody>
      </p:sp>
      <p:sp>
        <p:nvSpPr>
          <p:cNvPr id="7" name="Platshållare för bild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defRPr>
            </a:lvl1pPr>
          </a:lstStyle>
          <a:p>
            <a:fld id="{7850F7A7-DA63-4A74-9242-8131DBB6E085}" type="slidenum">
              <a:rPr lang="sv-SE" smtClean="0"/>
              <a:pPr/>
              <a:t>‹#›</a:t>
            </a:fld>
            <a:endParaRPr lang="sv-SE"/>
          </a:p>
        </p:txBody>
      </p:sp>
    </p:spTree>
    <p:extLst>
      <p:ext uri="{BB962C8B-B14F-4D97-AF65-F5344CB8AC3E}">
        <p14:creationId xmlns:p14="http://schemas.microsoft.com/office/powerpoint/2010/main" val="19727791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7850F7A7-DA63-4A74-9242-8131DBB6E085}" type="slidenum">
              <a:rPr lang="sv-SE" smtClean="0"/>
              <a:pPr/>
              <a:t>12</a:t>
            </a:fld>
            <a:endParaRPr lang="sv-SE"/>
          </a:p>
        </p:txBody>
      </p:sp>
    </p:spTree>
    <p:extLst>
      <p:ext uri="{BB962C8B-B14F-4D97-AF65-F5344CB8AC3E}">
        <p14:creationId xmlns:p14="http://schemas.microsoft.com/office/powerpoint/2010/main" val="12565272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7850F7A7-DA63-4A74-9242-8131DBB6E085}" type="slidenum">
              <a:rPr lang="sv-SE" smtClean="0"/>
              <a:pPr/>
              <a:t>20</a:t>
            </a:fld>
            <a:endParaRPr lang="sv-SE"/>
          </a:p>
        </p:txBody>
      </p:sp>
    </p:spTree>
    <p:extLst>
      <p:ext uri="{BB962C8B-B14F-4D97-AF65-F5344CB8AC3E}">
        <p14:creationId xmlns:p14="http://schemas.microsoft.com/office/powerpoint/2010/main" val="2118382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7850F7A7-DA63-4A74-9242-8131DBB6E085}" type="slidenum">
              <a:rPr lang="sv-SE" smtClean="0"/>
              <a:pPr/>
              <a:t>21</a:t>
            </a:fld>
            <a:endParaRPr lang="sv-SE"/>
          </a:p>
        </p:txBody>
      </p:sp>
    </p:spTree>
    <p:extLst>
      <p:ext uri="{BB962C8B-B14F-4D97-AF65-F5344CB8AC3E}">
        <p14:creationId xmlns:p14="http://schemas.microsoft.com/office/powerpoint/2010/main" val="23653350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ida (1)">
    <p:bg>
      <p:bgRef idx="1001">
        <a:schemeClr val="bg2"/>
      </p:bgRef>
    </p:bg>
    <p:spTree>
      <p:nvGrpSpPr>
        <p:cNvPr id="1" name=""/>
        <p:cNvGrpSpPr/>
        <p:nvPr/>
      </p:nvGrpSpPr>
      <p:grpSpPr>
        <a:xfrm>
          <a:off x="0" y="0"/>
          <a:ext cx="0" cy="0"/>
          <a:chOff x="0" y="0"/>
          <a:chExt cx="0" cy="0"/>
        </a:xfrm>
      </p:grpSpPr>
      <p:sp>
        <p:nvSpPr>
          <p:cNvPr id="2" name="Rubrik 1"/>
          <p:cNvSpPr>
            <a:spLocks noGrp="1"/>
          </p:cNvSpPr>
          <p:nvPr>
            <p:ph type="ctrTitle"/>
          </p:nvPr>
        </p:nvSpPr>
        <p:spPr>
          <a:xfrm>
            <a:off x="803275" y="2025650"/>
            <a:ext cx="2562225" cy="2387600"/>
          </a:xfrm>
        </p:spPr>
        <p:txBody>
          <a:bodyPr anchor="t">
            <a:normAutofit/>
          </a:bodyPr>
          <a:lstStyle>
            <a:lvl1pPr algn="l">
              <a:defRPr sz="4100" cap="all" baseline="0">
                <a:solidFill>
                  <a:schemeClr val="tx1"/>
                </a:solidFill>
              </a:defRPr>
            </a:lvl1pPr>
          </a:lstStyle>
          <a:p>
            <a:r>
              <a:rPr lang="sv-SE"/>
              <a:t>Klicka här för att ändra format</a:t>
            </a:r>
            <a:endParaRPr lang="en-GB"/>
          </a:p>
        </p:txBody>
      </p:sp>
      <p:sp>
        <p:nvSpPr>
          <p:cNvPr id="4" name="Platshållare för datum 3"/>
          <p:cNvSpPr>
            <a:spLocks noGrp="1"/>
          </p:cNvSpPr>
          <p:nvPr>
            <p:ph type="dt" sz="half" idx="10"/>
          </p:nvPr>
        </p:nvSpPr>
        <p:spPr/>
        <p:txBody>
          <a:bodyPr/>
          <a:lstStyle>
            <a:lvl1pPr>
              <a:defRPr>
                <a:solidFill>
                  <a:schemeClr val="tx1"/>
                </a:solidFill>
              </a:defRPr>
            </a:lvl1pPr>
          </a:lstStyle>
          <a:p>
            <a:fld id="{61BED36C-5960-48EB-A283-4AF38C7BA0A5}" type="datetime1">
              <a:rPr lang="sv-SE" smtClean="0"/>
              <a:t>2022-04-29</a:t>
            </a:fld>
            <a:endParaRPr lang="en-GB"/>
          </a:p>
        </p:txBody>
      </p:sp>
      <p:sp>
        <p:nvSpPr>
          <p:cNvPr id="5" name="Platshållare för sidfot 4"/>
          <p:cNvSpPr>
            <a:spLocks noGrp="1"/>
          </p:cNvSpPr>
          <p:nvPr>
            <p:ph type="ftr" sz="quarter" idx="11"/>
          </p:nvPr>
        </p:nvSpPr>
        <p:spPr>
          <a:xfrm>
            <a:off x="803275" y="260568"/>
            <a:ext cx="1203325" cy="365125"/>
          </a:xfrm>
        </p:spPr>
        <p:txBody>
          <a:bodyPr/>
          <a:lstStyle>
            <a:lvl1pPr>
              <a:defRPr>
                <a:solidFill>
                  <a:schemeClr val="tx1"/>
                </a:solidFill>
              </a:defRPr>
            </a:lvl1p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A3EAEDCA-98D4-4724-9772-C653855CA076}" type="slidenum">
              <a:rPr lang="en-GB" smtClean="0"/>
              <a:pPr/>
              <a:t>‹#›</a:t>
            </a:fld>
            <a:endParaRPr lang="en-GB"/>
          </a:p>
        </p:txBody>
      </p:sp>
      <p:pic>
        <p:nvPicPr>
          <p:cNvPr id="3" name="Bildobjekt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7828" y="235005"/>
            <a:ext cx="1372500" cy="416250"/>
          </a:xfrm>
          <a:prstGeom prst="rect">
            <a:avLst/>
          </a:prstGeom>
        </p:spPr>
      </p:pic>
    </p:spTree>
    <p:extLst>
      <p:ext uri="{BB962C8B-B14F-4D97-AF65-F5344CB8AC3E}">
        <p14:creationId xmlns:p14="http://schemas.microsoft.com/office/powerpoint/2010/main" val="62851425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sida (3)">
    <p:bg>
      <p:bgPr>
        <a:solidFill>
          <a:schemeClr val="accent3"/>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803275" y="2025650"/>
            <a:ext cx="2562225" cy="2387600"/>
          </a:xfrm>
        </p:spPr>
        <p:txBody>
          <a:bodyPr anchor="t">
            <a:normAutofit/>
          </a:bodyPr>
          <a:lstStyle>
            <a:lvl1pPr algn="l">
              <a:defRPr sz="4100" cap="all" baseline="0">
                <a:solidFill>
                  <a:schemeClr val="tx1"/>
                </a:solidFill>
              </a:defRPr>
            </a:lvl1pPr>
          </a:lstStyle>
          <a:p>
            <a:r>
              <a:rPr lang="sv-SE"/>
              <a:t>Klicka här för att ändra format</a:t>
            </a:r>
            <a:endParaRPr lang="en-GB"/>
          </a:p>
        </p:txBody>
      </p:sp>
      <p:sp>
        <p:nvSpPr>
          <p:cNvPr id="4" name="Platshållare för datum 3"/>
          <p:cNvSpPr>
            <a:spLocks noGrp="1"/>
          </p:cNvSpPr>
          <p:nvPr>
            <p:ph type="dt" sz="half" idx="10"/>
          </p:nvPr>
        </p:nvSpPr>
        <p:spPr/>
        <p:txBody>
          <a:bodyPr/>
          <a:lstStyle>
            <a:lvl1pPr>
              <a:defRPr>
                <a:solidFill>
                  <a:schemeClr val="tx1"/>
                </a:solidFill>
              </a:defRPr>
            </a:lvl1pPr>
          </a:lstStyle>
          <a:p>
            <a:fld id="{DED9FD24-A382-42EA-92A8-5177F8A191AF}" type="datetime1">
              <a:rPr lang="sv-SE" smtClean="0"/>
              <a:t>2022-04-29</a:t>
            </a:fld>
            <a:endParaRPr lang="en-GB"/>
          </a:p>
        </p:txBody>
      </p:sp>
      <p:sp>
        <p:nvSpPr>
          <p:cNvPr id="5" name="Platshållare för sidfot 4"/>
          <p:cNvSpPr>
            <a:spLocks noGrp="1"/>
          </p:cNvSpPr>
          <p:nvPr>
            <p:ph type="ftr" sz="quarter" idx="11"/>
          </p:nvPr>
        </p:nvSpPr>
        <p:spPr>
          <a:xfrm>
            <a:off x="803275" y="260568"/>
            <a:ext cx="1203325" cy="365125"/>
          </a:xfrm>
        </p:spPr>
        <p:txBody>
          <a:bodyPr/>
          <a:lstStyle>
            <a:lvl1pPr>
              <a:defRPr>
                <a:solidFill>
                  <a:schemeClr val="tx1"/>
                </a:solidFill>
              </a:defRPr>
            </a:lvl1p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A3EAEDCA-98D4-4724-9772-C653855CA076}" type="slidenum">
              <a:rPr lang="en-GB" smtClean="0"/>
              <a:pPr/>
              <a:t>‹#›</a:t>
            </a:fld>
            <a:endParaRPr lang="en-GB"/>
          </a:p>
        </p:txBody>
      </p:sp>
      <p:pic>
        <p:nvPicPr>
          <p:cNvPr id="7" name="Bildobjekt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7828" y="235005"/>
            <a:ext cx="1372500" cy="416250"/>
          </a:xfrm>
          <a:prstGeom prst="rect">
            <a:avLst/>
          </a:prstGeom>
        </p:spPr>
      </p:pic>
    </p:spTree>
    <p:extLst>
      <p:ext uri="{BB962C8B-B14F-4D97-AF65-F5344CB8AC3E}">
        <p14:creationId xmlns:p14="http://schemas.microsoft.com/office/powerpoint/2010/main" val="1788273140"/>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sida med bild (1)">
    <p:bg>
      <p:bgRef idx="1001">
        <a:schemeClr val="bg1"/>
      </p:bgRef>
    </p:bg>
    <p:spTree>
      <p:nvGrpSpPr>
        <p:cNvPr id="1" name=""/>
        <p:cNvGrpSpPr/>
        <p:nvPr/>
      </p:nvGrpSpPr>
      <p:grpSpPr>
        <a:xfrm>
          <a:off x="0" y="0"/>
          <a:ext cx="0" cy="0"/>
          <a:chOff x="0" y="0"/>
          <a:chExt cx="0" cy="0"/>
        </a:xfrm>
      </p:grpSpPr>
      <p:sp>
        <p:nvSpPr>
          <p:cNvPr id="18" name="Platshållare för bild 17"/>
          <p:cNvSpPr>
            <a:spLocks noGrp="1"/>
          </p:cNvSpPr>
          <p:nvPr>
            <p:ph type="pic" sz="quarter" idx="14"/>
          </p:nvPr>
        </p:nvSpPr>
        <p:spPr>
          <a:xfrm>
            <a:off x="0" y="0"/>
            <a:ext cx="12192000" cy="6858000"/>
          </a:xfrm>
        </p:spPr>
        <p:txBody>
          <a:bodyPr anchor="ctr">
            <a:normAutofit/>
          </a:bodyPr>
          <a:lstStyle>
            <a:lvl1pPr marL="12600" indent="0" algn="ctr">
              <a:buNone/>
              <a:defRPr sz="1000"/>
            </a:lvl1pPr>
          </a:lstStyle>
          <a:p>
            <a:r>
              <a:rPr lang="sv-SE"/>
              <a:t>Klicka på ikonen för att lägga till en bild</a:t>
            </a:r>
          </a:p>
        </p:txBody>
      </p:sp>
      <p:sp>
        <p:nvSpPr>
          <p:cNvPr id="2" name="Rubrik 1"/>
          <p:cNvSpPr>
            <a:spLocks noGrp="1"/>
          </p:cNvSpPr>
          <p:nvPr>
            <p:ph type="ctrTitle"/>
          </p:nvPr>
        </p:nvSpPr>
        <p:spPr>
          <a:xfrm>
            <a:off x="803275" y="2025650"/>
            <a:ext cx="2562225" cy="2387600"/>
          </a:xfrm>
        </p:spPr>
        <p:txBody>
          <a:bodyPr anchor="t">
            <a:normAutofit/>
          </a:bodyPr>
          <a:lstStyle>
            <a:lvl1pPr algn="l">
              <a:defRPr sz="4100" cap="all" baseline="0">
                <a:solidFill>
                  <a:schemeClr val="tx1"/>
                </a:solidFill>
              </a:defRPr>
            </a:lvl1pPr>
          </a:lstStyle>
          <a:p>
            <a:r>
              <a:rPr lang="sv-SE"/>
              <a:t>Klicka här för att ändra format</a:t>
            </a:r>
            <a:endParaRPr lang="en-GB"/>
          </a:p>
        </p:txBody>
      </p:sp>
      <p:sp>
        <p:nvSpPr>
          <p:cNvPr id="4" name="Platshållare för datum 3"/>
          <p:cNvSpPr>
            <a:spLocks noGrp="1"/>
          </p:cNvSpPr>
          <p:nvPr>
            <p:ph type="dt" sz="half" idx="10"/>
          </p:nvPr>
        </p:nvSpPr>
        <p:spPr/>
        <p:txBody>
          <a:bodyPr/>
          <a:lstStyle>
            <a:lvl1pPr>
              <a:defRPr>
                <a:solidFill>
                  <a:schemeClr val="tx1"/>
                </a:solidFill>
              </a:defRPr>
            </a:lvl1pPr>
          </a:lstStyle>
          <a:p>
            <a:fld id="{FB244FAC-9895-4BAB-B00A-818C454E16CC}" type="datetime1">
              <a:rPr lang="sv-SE" smtClean="0"/>
              <a:t>2022-04-29</a:t>
            </a:fld>
            <a:endParaRPr lang="en-GB"/>
          </a:p>
        </p:txBody>
      </p:sp>
      <p:sp>
        <p:nvSpPr>
          <p:cNvPr id="5" name="Platshållare för sidfot 4"/>
          <p:cNvSpPr>
            <a:spLocks noGrp="1"/>
          </p:cNvSpPr>
          <p:nvPr>
            <p:ph type="ftr" sz="quarter" idx="11"/>
          </p:nvPr>
        </p:nvSpPr>
        <p:spPr>
          <a:xfrm>
            <a:off x="803275" y="260568"/>
            <a:ext cx="1203325" cy="365125"/>
          </a:xfrm>
        </p:spPr>
        <p:txBody>
          <a:bodyPr/>
          <a:lstStyle>
            <a:lvl1pPr>
              <a:defRPr>
                <a:solidFill>
                  <a:schemeClr val="tx1"/>
                </a:solidFill>
              </a:defRPr>
            </a:lvl1p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A3EAEDCA-98D4-4724-9772-C653855CA076}" type="slidenum">
              <a:rPr lang="en-GB" smtClean="0"/>
              <a:pPr/>
              <a:t>‹#›</a:t>
            </a:fld>
            <a:endParaRPr lang="en-GB"/>
          </a:p>
        </p:txBody>
      </p:sp>
      <p:sp>
        <p:nvSpPr>
          <p:cNvPr id="10" name="Platshållare för text 6"/>
          <p:cNvSpPr>
            <a:spLocks noGrp="1"/>
          </p:cNvSpPr>
          <p:nvPr>
            <p:ph type="body" sz="quarter" idx="13" hasCustomPrompt="1"/>
          </p:nvPr>
        </p:nvSpPr>
        <p:spPr>
          <a:xfrm>
            <a:off x="10708255" y="263755"/>
            <a:ext cx="1230831" cy="381817"/>
          </a:xfrm>
          <a:blipFill>
            <a:blip r:embed="rId2"/>
            <a:stretch>
              <a:fillRect/>
            </a:stretch>
          </a:blipFill>
        </p:spPr>
        <p:txBody>
          <a:bodyPr>
            <a:normAutofit/>
          </a:bodyPr>
          <a:lstStyle>
            <a:lvl1pPr marL="12600" indent="0">
              <a:buNone/>
              <a:defRPr sz="100"/>
            </a:lvl1pPr>
          </a:lstStyle>
          <a:p>
            <a:pPr lvl="0"/>
            <a:r>
              <a:rPr lang="en-GB"/>
              <a:t> </a:t>
            </a:r>
          </a:p>
        </p:txBody>
      </p:sp>
    </p:spTree>
    <p:extLst>
      <p:ext uri="{BB962C8B-B14F-4D97-AF65-F5344CB8AC3E}">
        <p14:creationId xmlns:p14="http://schemas.microsoft.com/office/powerpoint/2010/main" val="267826652"/>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itat (1)">
    <p:spTree>
      <p:nvGrpSpPr>
        <p:cNvPr id="1" name=""/>
        <p:cNvGrpSpPr/>
        <p:nvPr/>
      </p:nvGrpSpPr>
      <p:grpSpPr>
        <a:xfrm>
          <a:off x="0" y="0"/>
          <a:ext cx="0" cy="0"/>
          <a:chOff x="0" y="0"/>
          <a:chExt cx="0" cy="0"/>
        </a:xfrm>
      </p:grpSpPr>
      <p:sp>
        <p:nvSpPr>
          <p:cNvPr id="2" name="Rubrik 1"/>
          <p:cNvSpPr>
            <a:spLocks noGrp="1"/>
          </p:cNvSpPr>
          <p:nvPr>
            <p:ph type="ctrTitle"/>
          </p:nvPr>
        </p:nvSpPr>
        <p:spPr>
          <a:xfrm>
            <a:off x="803275" y="2054225"/>
            <a:ext cx="7788275" cy="2387600"/>
          </a:xfrm>
        </p:spPr>
        <p:txBody>
          <a:bodyPr anchor="t">
            <a:normAutofit/>
          </a:bodyPr>
          <a:lstStyle>
            <a:lvl1pPr algn="l">
              <a:defRPr sz="2400" cap="all" baseline="0">
                <a:solidFill>
                  <a:schemeClr val="accent3"/>
                </a:solidFill>
              </a:defRPr>
            </a:lvl1pPr>
          </a:lstStyle>
          <a:p>
            <a:r>
              <a:rPr lang="sv-SE"/>
              <a:t>Klicka här för att ändra format</a:t>
            </a:r>
            <a:endParaRPr lang="en-GB"/>
          </a:p>
        </p:txBody>
      </p:sp>
      <p:sp>
        <p:nvSpPr>
          <p:cNvPr id="9" name="Platshållare för datum 8"/>
          <p:cNvSpPr>
            <a:spLocks noGrp="1"/>
          </p:cNvSpPr>
          <p:nvPr>
            <p:ph type="dt" sz="half" idx="10"/>
          </p:nvPr>
        </p:nvSpPr>
        <p:spPr/>
        <p:txBody>
          <a:bodyPr/>
          <a:lstStyle/>
          <a:p>
            <a:fld id="{2FACBA91-6427-4B75-A109-F62270945E19}" type="datetime1">
              <a:rPr lang="sv-SE" smtClean="0"/>
              <a:t>2022-04-29</a:t>
            </a:fld>
            <a:endParaRPr lang="en-GB"/>
          </a:p>
        </p:txBody>
      </p:sp>
      <p:sp>
        <p:nvSpPr>
          <p:cNvPr id="10" name="Platshållare för sidfot 9"/>
          <p:cNvSpPr>
            <a:spLocks noGrp="1"/>
          </p:cNvSpPr>
          <p:nvPr>
            <p:ph type="ftr" sz="quarter" idx="11"/>
          </p:nvPr>
        </p:nvSpPr>
        <p:spPr/>
        <p:txBody>
          <a:body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11" name="Platshållare för bildnummer 10"/>
          <p:cNvSpPr>
            <a:spLocks noGrp="1"/>
          </p:cNvSpPr>
          <p:nvPr>
            <p:ph type="sldNum" sz="quarter" idx="12"/>
          </p:nvPr>
        </p:nvSpPr>
        <p:spPr/>
        <p:txBody>
          <a:bodyPr/>
          <a:lstStyle/>
          <a:p>
            <a:fld id="{A3EAEDCA-98D4-4724-9772-C653855CA076}" type="slidenum">
              <a:rPr lang="en-GB" smtClean="0"/>
              <a:pPr/>
              <a:t>‹#›</a:t>
            </a:fld>
            <a:endParaRPr lang="en-GB"/>
          </a:p>
        </p:txBody>
      </p:sp>
    </p:spTree>
    <p:extLst>
      <p:ext uri="{BB962C8B-B14F-4D97-AF65-F5344CB8AC3E}">
        <p14:creationId xmlns:p14="http://schemas.microsoft.com/office/powerpoint/2010/main" val="7044177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itat (2)">
    <p:bg>
      <p:bgRef idx="1001">
        <a:schemeClr val="bg1"/>
      </p:bgRef>
    </p:bg>
    <p:spTree>
      <p:nvGrpSpPr>
        <p:cNvPr id="1" name=""/>
        <p:cNvGrpSpPr/>
        <p:nvPr/>
      </p:nvGrpSpPr>
      <p:grpSpPr>
        <a:xfrm>
          <a:off x="0" y="0"/>
          <a:ext cx="0" cy="0"/>
          <a:chOff x="0" y="0"/>
          <a:chExt cx="0" cy="0"/>
        </a:xfrm>
      </p:grpSpPr>
      <p:sp>
        <p:nvSpPr>
          <p:cNvPr id="2" name="Rubrik 1"/>
          <p:cNvSpPr>
            <a:spLocks noGrp="1"/>
          </p:cNvSpPr>
          <p:nvPr>
            <p:ph type="ctrTitle"/>
          </p:nvPr>
        </p:nvSpPr>
        <p:spPr>
          <a:xfrm>
            <a:off x="803275" y="2054225"/>
            <a:ext cx="7788275" cy="2387600"/>
          </a:xfrm>
        </p:spPr>
        <p:txBody>
          <a:bodyPr anchor="t">
            <a:normAutofit/>
          </a:bodyPr>
          <a:lstStyle>
            <a:lvl1pPr algn="l">
              <a:defRPr sz="2400" cap="all" baseline="0">
                <a:solidFill>
                  <a:schemeClr val="accent3"/>
                </a:solidFill>
              </a:defRPr>
            </a:lvl1pPr>
          </a:lstStyle>
          <a:p>
            <a:r>
              <a:rPr lang="sv-SE"/>
              <a:t>Klicka här för att ändra format</a:t>
            </a:r>
            <a:endParaRPr lang="en-GB"/>
          </a:p>
        </p:txBody>
      </p:sp>
      <p:sp>
        <p:nvSpPr>
          <p:cNvPr id="4" name="Platshållare för datum 3"/>
          <p:cNvSpPr>
            <a:spLocks noGrp="1"/>
          </p:cNvSpPr>
          <p:nvPr>
            <p:ph type="dt" sz="half" idx="10"/>
          </p:nvPr>
        </p:nvSpPr>
        <p:spPr/>
        <p:txBody>
          <a:bodyPr/>
          <a:lstStyle>
            <a:lvl1pPr>
              <a:defRPr>
                <a:solidFill>
                  <a:schemeClr val="tx1"/>
                </a:solidFill>
              </a:defRPr>
            </a:lvl1pPr>
          </a:lstStyle>
          <a:p>
            <a:fld id="{92557C22-1542-490E-A4A4-8BB8EA2F367C}" type="datetime1">
              <a:rPr lang="sv-SE" smtClean="0"/>
              <a:t>2022-04-29</a:t>
            </a:fld>
            <a:endParaRPr lang="en-GB"/>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A3EAEDCA-98D4-4724-9772-C653855CA076}" type="slidenum">
              <a:rPr lang="en-GB" smtClean="0"/>
              <a:pPr/>
              <a:t>‹#›</a:t>
            </a:fld>
            <a:endParaRPr lang="en-GB"/>
          </a:p>
        </p:txBody>
      </p:sp>
      <p:pic>
        <p:nvPicPr>
          <p:cNvPr id="7" name="Bildobjekt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7828" y="235005"/>
            <a:ext cx="1372500" cy="416250"/>
          </a:xfrm>
          <a:prstGeom prst="rect">
            <a:avLst/>
          </a:prstGeom>
        </p:spPr>
      </p:pic>
    </p:spTree>
    <p:extLst>
      <p:ext uri="{BB962C8B-B14F-4D97-AF65-F5344CB8AC3E}">
        <p14:creationId xmlns:p14="http://schemas.microsoft.com/office/powerpoint/2010/main" val="4258167580"/>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itat (3)">
    <p:bg>
      <p:bgPr>
        <a:solidFill>
          <a:schemeClr val="accent2"/>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803275" y="2054225"/>
            <a:ext cx="7788275" cy="2387600"/>
          </a:xfrm>
        </p:spPr>
        <p:txBody>
          <a:bodyPr anchor="t">
            <a:normAutofit/>
          </a:bodyPr>
          <a:lstStyle>
            <a:lvl1pPr algn="l">
              <a:defRPr sz="2400" cap="all" baseline="0">
                <a:solidFill>
                  <a:schemeClr val="tx1"/>
                </a:solidFill>
              </a:defRPr>
            </a:lvl1pPr>
          </a:lstStyle>
          <a:p>
            <a:r>
              <a:rPr lang="sv-SE"/>
              <a:t>Klicka här för att ändra format</a:t>
            </a:r>
            <a:endParaRPr lang="en-GB"/>
          </a:p>
        </p:txBody>
      </p:sp>
      <p:sp>
        <p:nvSpPr>
          <p:cNvPr id="4" name="Platshållare för datum 3"/>
          <p:cNvSpPr>
            <a:spLocks noGrp="1"/>
          </p:cNvSpPr>
          <p:nvPr>
            <p:ph type="dt" sz="half" idx="10"/>
          </p:nvPr>
        </p:nvSpPr>
        <p:spPr/>
        <p:txBody>
          <a:bodyPr/>
          <a:lstStyle>
            <a:lvl1pPr>
              <a:defRPr>
                <a:solidFill>
                  <a:schemeClr val="tx1"/>
                </a:solidFill>
              </a:defRPr>
            </a:lvl1pPr>
          </a:lstStyle>
          <a:p>
            <a:fld id="{D9985D5F-AF4D-4B2F-ABAD-745A6DBEB955}" type="datetime1">
              <a:rPr lang="sv-SE" smtClean="0"/>
              <a:t>2022-04-29</a:t>
            </a:fld>
            <a:endParaRPr lang="en-GB"/>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A3EAEDCA-98D4-4724-9772-C653855CA076}" type="slidenum">
              <a:rPr lang="en-GB" smtClean="0"/>
              <a:pPr/>
              <a:t>‹#›</a:t>
            </a:fld>
            <a:endParaRPr lang="en-GB"/>
          </a:p>
        </p:txBody>
      </p:sp>
      <p:pic>
        <p:nvPicPr>
          <p:cNvPr id="7" name="Bildobjekt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7828" y="235005"/>
            <a:ext cx="1372500" cy="416250"/>
          </a:xfrm>
          <a:prstGeom prst="rect">
            <a:avLst/>
          </a:prstGeom>
        </p:spPr>
      </p:pic>
    </p:spTree>
    <p:extLst>
      <p:ext uri="{BB962C8B-B14F-4D97-AF65-F5344CB8AC3E}">
        <p14:creationId xmlns:p14="http://schemas.microsoft.com/office/powerpoint/2010/main" val="2988354102"/>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itat (4)">
    <p:bg>
      <p:bgRef idx="1001">
        <a:schemeClr val="bg1"/>
      </p:bgRef>
    </p:bg>
    <p:spTree>
      <p:nvGrpSpPr>
        <p:cNvPr id="1" name=""/>
        <p:cNvGrpSpPr/>
        <p:nvPr/>
      </p:nvGrpSpPr>
      <p:grpSpPr>
        <a:xfrm>
          <a:off x="0" y="0"/>
          <a:ext cx="0" cy="0"/>
          <a:chOff x="0" y="0"/>
          <a:chExt cx="0" cy="0"/>
        </a:xfrm>
      </p:grpSpPr>
      <p:sp>
        <p:nvSpPr>
          <p:cNvPr id="2" name="Rubrik 1"/>
          <p:cNvSpPr>
            <a:spLocks noGrp="1"/>
          </p:cNvSpPr>
          <p:nvPr>
            <p:ph type="ctrTitle"/>
          </p:nvPr>
        </p:nvSpPr>
        <p:spPr>
          <a:xfrm>
            <a:off x="803275" y="2016125"/>
            <a:ext cx="3978275" cy="2387600"/>
          </a:xfrm>
        </p:spPr>
        <p:txBody>
          <a:bodyPr anchor="t">
            <a:normAutofit/>
          </a:bodyPr>
          <a:lstStyle>
            <a:lvl1pPr algn="l">
              <a:defRPr sz="3900" cap="all" baseline="0">
                <a:solidFill>
                  <a:schemeClr val="tx1"/>
                </a:solidFill>
              </a:defRPr>
            </a:lvl1pPr>
          </a:lstStyle>
          <a:p>
            <a:r>
              <a:rPr lang="sv-SE"/>
              <a:t>Klicka här för att ändra format</a:t>
            </a:r>
            <a:endParaRPr lang="en-GB"/>
          </a:p>
        </p:txBody>
      </p:sp>
      <p:sp>
        <p:nvSpPr>
          <p:cNvPr id="4" name="Platshållare för datum 3"/>
          <p:cNvSpPr>
            <a:spLocks noGrp="1"/>
          </p:cNvSpPr>
          <p:nvPr>
            <p:ph type="dt" sz="half" idx="10"/>
          </p:nvPr>
        </p:nvSpPr>
        <p:spPr/>
        <p:txBody>
          <a:bodyPr/>
          <a:lstStyle>
            <a:lvl1pPr>
              <a:defRPr>
                <a:solidFill>
                  <a:schemeClr val="tx1"/>
                </a:solidFill>
              </a:defRPr>
            </a:lvl1pPr>
          </a:lstStyle>
          <a:p>
            <a:fld id="{7C6ED73A-3DB2-422B-9CA9-CF6A1F3A815E}" type="datetime1">
              <a:rPr lang="sv-SE" smtClean="0"/>
              <a:t>2022-04-29</a:t>
            </a:fld>
            <a:endParaRPr lang="en-GB"/>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A3EAEDCA-98D4-4724-9772-C653855CA076}" type="slidenum">
              <a:rPr lang="en-GB" smtClean="0"/>
              <a:pPr/>
              <a:t>‹#›</a:t>
            </a:fld>
            <a:endParaRPr lang="en-GB"/>
          </a:p>
        </p:txBody>
      </p:sp>
      <p:pic>
        <p:nvPicPr>
          <p:cNvPr id="7" name="Bildobjekt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7828" y="235005"/>
            <a:ext cx="1372500" cy="416250"/>
          </a:xfrm>
          <a:prstGeom prst="rect">
            <a:avLst/>
          </a:prstGeom>
        </p:spPr>
      </p:pic>
    </p:spTree>
    <p:extLst>
      <p:ext uri="{BB962C8B-B14F-4D97-AF65-F5344CB8AC3E}">
        <p14:creationId xmlns:p14="http://schemas.microsoft.com/office/powerpoint/2010/main" val="2589600871"/>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ubrik endast">
    <p:spTree>
      <p:nvGrpSpPr>
        <p:cNvPr id="1" name=""/>
        <p:cNvGrpSpPr/>
        <p:nvPr/>
      </p:nvGrpSpPr>
      <p:grpSpPr>
        <a:xfrm>
          <a:off x="0" y="0"/>
          <a:ext cx="0" cy="0"/>
          <a:chOff x="0" y="0"/>
          <a:chExt cx="0" cy="0"/>
        </a:xfrm>
      </p:grpSpPr>
      <p:sp>
        <p:nvSpPr>
          <p:cNvPr id="3" name="Platshållare för datum 2"/>
          <p:cNvSpPr>
            <a:spLocks noGrp="1"/>
          </p:cNvSpPr>
          <p:nvPr>
            <p:ph type="dt" sz="half" idx="10"/>
          </p:nvPr>
        </p:nvSpPr>
        <p:spPr/>
        <p:txBody>
          <a:bodyPr/>
          <a:lstStyle/>
          <a:p>
            <a:fld id="{2DFD871E-C556-437D-89D2-3C5571736C96}" type="datetime1">
              <a:rPr lang="sv-SE" smtClean="0"/>
              <a:t>2022-04-29</a:t>
            </a:fld>
            <a:endParaRPr lang="en-GB"/>
          </a:p>
        </p:txBody>
      </p:sp>
      <p:sp>
        <p:nvSpPr>
          <p:cNvPr id="4" name="Platshållare för sidfot 3"/>
          <p:cNvSpPr>
            <a:spLocks noGrp="1"/>
          </p:cNvSpPr>
          <p:nvPr>
            <p:ph type="ftr" sz="quarter" idx="11"/>
          </p:nvPr>
        </p:nvSpPr>
        <p:spPr/>
        <p:txBody>
          <a:body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5" name="Platshållare för bildnummer 4"/>
          <p:cNvSpPr>
            <a:spLocks noGrp="1"/>
          </p:cNvSpPr>
          <p:nvPr>
            <p:ph type="sldNum" sz="quarter" idx="12"/>
          </p:nvPr>
        </p:nvSpPr>
        <p:spPr/>
        <p:txBody>
          <a:bodyPr/>
          <a:lstStyle/>
          <a:p>
            <a:fld id="{A3EAEDCA-98D4-4724-9772-C653855CA076}" type="slidenum">
              <a:rPr lang="en-GB" smtClean="0"/>
              <a:t>‹#›</a:t>
            </a:fld>
            <a:endParaRPr lang="en-GB"/>
          </a:p>
        </p:txBody>
      </p:sp>
      <p:sp>
        <p:nvSpPr>
          <p:cNvPr id="6" name="Rubrik 5"/>
          <p:cNvSpPr>
            <a:spLocks noGrp="1"/>
          </p:cNvSpPr>
          <p:nvPr>
            <p:ph type="title"/>
          </p:nvPr>
        </p:nvSpPr>
        <p:spPr/>
        <p:txBody>
          <a:bodyPr/>
          <a:lstStyle/>
          <a:p>
            <a:r>
              <a:rPr lang="sv-SE"/>
              <a:t>Klicka här för att ändra format</a:t>
            </a:r>
            <a:endParaRPr lang="en-GB"/>
          </a:p>
        </p:txBody>
      </p:sp>
    </p:spTree>
    <p:extLst>
      <p:ext uri="{BB962C8B-B14F-4D97-AF65-F5344CB8AC3E}">
        <p14:creationId xmlns:p14="http://schemas.microsoft.com/office/powerpoint/2010/main" val="30098934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m ">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344FA1-2EE7-4CE8-B327-5939691C84DB}" type="datetime1">
              <a:rPr lang="sv-SE" smtClean="0"/>
              <a:t>2022-04-29</a:t>
            </a:fld>
            <a:endParaRPr lang="en-GB"/>
          </a:p>
        </p:txBody>
      </p:sp>
      <p:sp>
        <p:nvSpPr>
          <p:cNvPr id="3" name="Platshållare för sidfot 2"/>
          <p:cNvSpPr>
            <a:spLocks noGrp="1"/>
          </p:cNvSpPr>
          <p:nvPr>
            <p:ph type="ftr" sz="quarter" idx="11"/>
          </p:nvPr>
        </p:nvSpPr>
        <p:spPr/>
        <p:txBody>
          <a:body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4" name="Platshållare för bildnummer 3"/>
          <p:cNvSpPr>
            <a:spLocks noGrp="1"/>
          </p:cNvSpPr>
          <p:nvPr>
            <p:ph type="sldNum" sz="quarter" idx="12"/>
          </p:nvPr>
        </p:nvSpPr>
        <p:spPr/>
        <p:txBody>
          <a:bodyPr/>
          <a:lstStyle/>
          <a:p>
            <a:fld id="{A3EAEDCA-98D4-4724-9772-C653855CA076}" type="slidenum">
              <a:rPr lang="en-GB" smtClean="0"/>
              <a:t>‹#›</a:t>
            </a:fld>
            <a:endParaRPr lang="en-GB"/>
          </a:p>
        </p:txBody>
      </p:sp>
    </p:spTree>
    <p:extLst>
      <p:ext uri="{BB962C8B-B14F-4D97-AF65-F5344CB8AC3E}">
        <p14:creationId xmlns:p14="http://schemas.microsoft.com/office/powerpoint/2010/main" val="40868170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lutsida (1)">
    <p:bg>
      <p:bgRef idx="1001">
        <a:schemeClr val="bg1"/>
      </p:bgRef>
    </p:bg>
    <p:spTree>
      <p:nvGrpSpPr>
        <p:cNvPr id="1" name=""/>
        <p:cNvGrpSpPr/>
        <p:nvPr/>
      </p:nvGrpSpPr>
      <p:grpSpPr>
        <a:xfrm>
          <a:off x="0" y="0"/>
          <a:ext cx="0" cy="0"/>
          <a:chOff x="0" y="0"/>
          <a:chExt cx="0" cy="0"/>
        </a:xfrm>
      </p:grpSpPr>
      <p:pic>
        <p:nvPicPr>
          <p:cNvPr id="6" name="Bildobjekt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58304" y="266700"/>
            <a:ext cx="11664407" cy="6372000"/>
          </a:xfrm>
          <a:prstGeom prst="rect">
            <a:avLst/>
          </a:prstGeom>
        </p:spPr>
      </p:pic>
      <p:pic>
        <p:nvPicPr>
          <p:cNvPr id="4" name="Bildobjekt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02099" y="2979186"/>
            <a:ext cx="3987801" cy="1209415"/>
          </a:xfrm>
          <a:prstGeom prst="rect">
            <a:avLst/>
          </a:prstGeom>
        </p:spPr>
      </p:pic>
    </p:spTree>
    <p:extLst>
      <p:ext uri="{BB962C8B-B14F-4D97-AF65-F5344CB8AC3E}">
        <p14:creationId xmlns:p14="http://schemas.microsoft.com/office/powerpoint/2010/main" val="1167844701"/>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lutsida (2)">
    <p:bg>
      <p:bgRef idx="1001">
        <a:schemeClr val="bg1"/>
      </p:bgRef>
    </p:bg>
    <p:spTree>
      <p:nvGrpSpPr>
        <p:cNvPr id="1" name=""/>
        <p:cNvGrpSpPr/>
        <p:nvPr/>
      </p:nvGrpSpPr>
      <p:grpSpPr>
        <a:xfrm>
          <a:off x="0" y="0"/>
          <a:ext cx="0" cy="0"/>
          <a:chOff x="0" y="0"/>
          <a:chExt cx="0" cy="0"/>
        </a:xfrm>
      </p:grpSpPr>
      <p:sp>
        <p:nvSpPr>
          <p:cNvPr id="2" name="Rektangel 1"/>
          <p:cNvSpPr/>
          <p:nvPr userDrawn="1"/>
        </p:nvSpPr>
        <p:spPr>
          <a:xfrm>
            <a:off x="264000" y="243000"/>
            <a:ext cx="11664000" cy="63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Bildobjekt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2099" y="2979186"/>
            <a:ext cx="3987801" cy="1209415"/>
          </a:xfrm>
          <a:prstGeom prst="rect">
            <a:avLst/>
          </a:prstGeom>
        </p:spPr>
      </p:pic>
    </p:spTree>
    <p:extLst>
      <p:ext uri="{BB962C8B-B14F-4D97-AF65-F5344CB8AC3E}">
        <p14:creationId xmlns:p14="http://schemas.microsoft.com/office/powerpoint/2010/main" val="1036406542"/>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en-GB"/>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10" name="Platshållare för datum 9"/>
          <p:cNvSpPr>
            <a:spLocks noGrp="1"/>
          </p:cNvSpPr>
          <p:nvPr>
            <p:ph type="dt" sz="half" idx="10"/>
          </p:nvPr>
        </p:nvSpPr>
        <p:spPr/>
        <p:txBody>
          <a:bodyPr/>
          <a:lstStyle/>
          <a:p>
            <a:fld id="{B65C4A8B-80CE-41AF-9BEF-B1D9CF02D6AD}" type="datetime1">
              <a:rPr lang="sv-SE" smtClean="0"/>
              <a:t>2022-04-29</a:t>
            </a:fld>
            <a:endParaRPr lang="en-GB"/>
          </a:p>
        </p:txBody>
      </p:sp>
      <p:sp>
        <p:nvSpPr>
          <p:cNvPr id="11" name="Platshållare för sidfot 10"/>
          <p:cNvSpPr>
            <a:spLocks noGrp="1"/>
          </p:cNvSpPr>
          <p:nvPr>
            <p:ph type="ftr" sz="quarter" idx="11"/>
          </p:nvPr>
        </p:nvSpPr>
        <p:spPr/>
        <p:txBody>
          <a:body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12" name="Platshållare för bildnummer 11"/>
          <p:cNvSpPr>
            <a:spLocks noGrp="1"/>
          </p:cNvSpPr>
          <p:nvPr>
            <p:ph type="sldNum" sz="quarter" idx="12"/>
          </p:nvPr>
        </p:nvSpPr>
        <p:spPr/>
        <p:txBody>
          <a:bodyPr/>
          <a:lstStyle/>
          <a:p>
            <a:fld id="{A3EAEDCA-98D4-4724-9772-C653855CA076}" type="slidenum">
              <a:rPr lang="en-GB" smtClean="0"/>
              <a:pPr/>
              <a:t>‹#›</a:t>
            </a:fld>
            <a:endParaRPr lang="en-GB"/>
          </a:p>
        </p:txBody>
      </p:sp>
    </p:spTree>
    <p:extLst>
      <p:ext uri="{BB962C8B-B14F-4D97-AF65-F5344CB8AC3E}">
        <p14:creationId xmlns:p14="http://schemas.microsoft.com/office/powerpoint/2010/main" val="31585804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lutsida (3)">
    <p:bg>
      <p:bgRef idx="1001">
        <a:schemeClr val="bg1"/>
      </p:bgRef>
    </p:bg>
    <p:spTree>
      <p:nvGrpSpPr>
        <p:cNvPr id="1" name=""/>
        <p:cNvGrpSpPr/>
        <p:nvPr/>
      </p:nvGrpSpPr>
      <p:grpSpPr>
        <a:xfrm>
          <a:off x="0" y="0"/>
          <a:ext cx="0" cy="0"/>
          <a:chOff x="0" y="0"/>
          <a:chExt cx="0" cy="0"/>
        </a:xfrm>
      </p:grpSpPr>
      <p:sp>
        <p:nvSpPr>
          <p:cNvPr id="2" name="Rektangel 1"/>
          <p:cNvSpPr/>
          <p:nvPr userDrawn="1"/>
        </p:nvSpPr>
        <p:spPr>
          <a:xfrm>
            <a:off x="264000" y="243000"/>
            <a:ext cx="11664000" cy="63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Bildobjekt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2099" y="2979186"/>
            <a:ext cx="3987801" cy="1209415"/>
          </a:xfrm>
          <a:prstGeom prst="rect">
            <a:avLst/>
          </a:prstGeom>
        </p:spPr>
      </p:pic>
    </p:spTree>
    <p:extLst>
      <p:ext uri="{BB962C8B-B14F-4D97-AF65-F5344CB8AC3E}">
        <p14:creationId xmlns:p14="http://schemas.microsoft.com/office/powerpoint/2010/main" val="1925475994"/>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lutsida (4)">
    <p:bg>
      <p:bgRef idx="1001">
        <a:schemeClr val="bg1"/>
      </p:bgRef>
    </p:bg>
    <p:spTree>
      <p:nvGrpSpPr>
        <p:cNvPr id="1" name=""/>
        <p:cNvGrpSpPr/>
        <p:nvPr/>
      </p:nvGrpSpPr>
      <p:grpSpPr>
        <a:xfrm>
          <a:off x="0" y="0"/>
          <a:ext cx="0" cy="0"/>
          <a:chOff x="0" y="0"/>
          <a:chExt cx="0" cy="0"/>
        </a:xfrm>
      </p:grpSpPr>
      <p:sp>
        <p:nvSpPr>
          <p:cNvPr id="2" name="Rektangel 1"/>
          <p:cNvSpPr/>
          <p:nvPr userDrawn="1"/>
        </p:nvSpPr>
        <p:spPr>
          <a:xfrm>
            <a:off x="264000" y="243000"/>
            <a:ext cx="11664000" cy="637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Bildobjekt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02099" y="2979186"/>
            <a:ext cx="3987801" cy="1209415"/>
          </a:xfrm>
          <a:prstGeom prst="rect">
            <a:avLst/>
          </a:prstGeom>
        </p:spPr>
      </p:pic>
    </p:spTree>
    <p:extLst>
      <p:ext uri="{BB962C8B-B14F-4D97-AF65-F5344CB8AC3E}">
        <p14:creationId xmlns:p14="http://schemas.microsoft.com/office/powerpoint/2010/main" val="1287182792"/>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Otsikkodia" type="title" preserve="1">
  <p:cSld name="Otsikkodia">
    <p:spTree>
      <p:nvGrpSpPr>
        <p:cNvPr id="1" name=""/>
        <p:cNvGrpSpPr/>
        <p:nvPr/>
      </p:nvGrpSpPr>
      <p:grpSpPr>
        <a:xfrm>
          <a:off x="0" y="0"/>
          <a:ext cx="0" cy="0"/>
          <a:chOff x="0" y="0"/>
          <a:chExt cx="0" cy="0"/>
        </a:xfrm>
      </p:grpSpPr>
      <p:sp>
        <p:nvSpPr>
          <p:cNvPr id="21" name="Freeform 6">
            <a:extLst>
              <a:ext uri="{FF2B5EF4-FFF2-40B4-BE49-F238E27FC236}">
                <a16:creationId xmlns:a16="http://schemas.microsoft.com/office/drawing/2014/main" id="{AF5ED276-0204-40E6-B3D6-A29A0811A5A0}"/>
              </a:ext>
              <a:ext uri="{C183D7F6-B498-43B3-948B-1728B52AA6E4}">
                <adec:decorative xmlns:adec="http://schemas.microsoft.com/office/drawing/2017/decorative" val="1"/>
              </a:ext>
            </a:extLst>
          </p:cNvPr>
          <p:cNvSpPr>
            <a:spLocks/>
          </p:cNvSpPr>
          <p:nvPr userDrawn="1"/>
        </p:nvSpPr>
        <p:spPr bwMode="auto">
          <a:xfrm>
            <a:off x="178632" y="3510394"/>
            <a:ext cx="11834341" cy="3159498"/>
          </a:xfrm>
          <a:custGeom>
            <a:avLst/>
            <a:gdLst>
              <a:gd name="T0" fmla="*/ 0 w 32870"/>
              <a:gd name="T1" fmla="*/ 3229 h 8296"/>
              <a:gd name="T2" fmla="*/ 0 w 32870"/>
              <a:gd name="T3" fmla="*/ 8296 h 8296"/>
              <a:gd name="T4" fmla="*/ 16387 w 32870"/>
              <a:gd name="T5" fmla="*/ 4042 h 8296"/>
              <a:gd name="T6" fmla="*/ 32870 w 32870"/>
              <a:gd name="T7" fmla="*/ 4037 h 8296"/>
              <a:gd name="T8" fmla="*/ 32870 w 32870"/>
              <a:gd name="T9" fmla="*/ 0 h 8296"/>
              <a:gd name="T10" fmla="*/ 15744 w 32870"/>
              <a:gd name="T11" fmla="*/ 14 h 8296"/>
              <a:gd name="T12" fmla="*/ 0 w 32870"/>
              <a:gd name="T13" fmla="*/ 3229 h 8296"/>
              <a:gd name="connsiteX0" fmla="*/ 0 w 10000"/>
              <a:gd name="connsiteY0" fmla="*/ 4445 h 10553"/>
              <a:gd name="connsiteX1" fmla="*/ 0 w 10000"/>
              <a:gd name="connsiteY1" fmla="*/ 10553 h 10553"/>
              <a:gd name="connsiteX2" fmla="*/ 4985 w 10000"/>
              <a:gd name="connsiteY2" fmla="*/ 5425 h 10553"/>
              <a:gd name="connsiteX3" fmla="*/ 10000 w 10000"/>
              <a:gd name="connsiteY3" fmla="*/ 5419 h 10553"/>
              <a:gd name="connsiteX4" fmla="*/ 10000 w 10000"/>
              <a:gd name="connsiteY4" fmla="*/ 553 h 10553"/>
              <a:gd name="connsiteX5" fmla="*/ 4601 w 10000"/>
              <a:gd name="connsiteY5" fmla="*/ 0 h 10553"/>
              <a:gd name="connsiteX6" fmla="*/ 0 w 10000"/>
              <a:gd name="connsiteY6" fmla="*/ 4445 h 10553"/>
              <a:gd name="connsiteX0" fmla="*/ 0 w 10000"/>
              <a:gd name="connsiteY0" fmla="*/ 4468 h 10576"/>
              <a:gd name="connsiteX1" fmla="*/ 0 w 10000"/>
              <a:gd name="connsiteY1" fmla="*/ 10576 h 10576"/>
              <a:gd name="connsiteX2" fmla="*/ 4985 w 10000"/>
              <a:gd name="connsiteY2" fmla="*/ 5448 h 10576"/>
              <a:gd name="connsiteX3" fmla="*/ 10000 w 10000"/>
              <a:gd name="connsiteY3" fmla="*/ 5442 h 10576"/>
              <a:gd name="connsiteX4" fmla="*/ 10000 w 10000"/>
              <a:gd name="connsiteY4" fmla="*/ 576 h 10576"/>
              <a:gd name="connsiteX5" fmla="*/ 4601 w 10000"/>
              <a:gd name="connsiteY5" fmla="*/ 23 h 10576"/>
              <a:gd name="connsiteX6" fmla="*/ 0 w 10000"/>
              <a:gd name="connsiteY6" fmla="*/ 4468 h 10576"/>
              <a:gd name="connsiteX0" fmla="*/ 0 w 10000"/>
              <a:gd name="connsiteY0" fmla="*/ 4468 h 10576"/>
              <a:gd name="connsiteX1" fmla="*/ 0 w 10000"/>
              <a:gd name="connsiteY1" fmla="*/ 10576 h 10576"/>
              <a:gd name="connsiteX2" fmla="*/ 4985 w 10000"/>
              <a:gd name="connsiteY2" fmla="*/ 5448 h 10576"/>
              <a:gd name="connsiteX3" fmla="*/ 10000 w 10000"/>
              <a:gd name="connsiteY3" fmla="*/ 5442 h 10576"/>
              <a:gd name="connsiteX4" fmla="*/ 10000 w 10000"/>
              <a:gd name="connsiteY4" fmla="*/ 576 h 10576"/>
              <a:gd name="connsiteX5" fmla="*/ 4601 w 10000"/>
              <a:gd name="connsiteY5" fmla="*/ 23 h 10576"/>
              <a:gd name="connsiteX6" fmla="*/ 0 w 10000"/>
              <a:gd name="connsiteY6" fmla="*/ 4468 h 1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576">
                <a:moveTo>
                  <a:pt x="0" y="4468"/>
                </a:moveTo>
                <a:lnTo>
                  <a:pt x="0" y="10576"/>
                </a:lnTo>
                <a:cubicBezTo>
                  <a:pt x="1195" y="6090"/>
                  <a:pt x="3644" y="5440"/>
                  <a:pt x="4985" y="5448"/>
                </a:cubicBezTo>
                <a:lnTo>
                  <a:pt x="10000" y="5442"/>
                </a:lnTo>
                <a:lnTo>
                  <a:pt x="10000" y="576"/>
                </a:lnTo>
                <a:cubicBezTo>
                  <a:pt x="7689" y="-155"/>
                  <a:pt x="4944" y="14"/>
                  <a:pt x="4601" y="23"/>
                </a:cubicBezTo>
                <a:cubicBezTo>
                  <a:pt x="2299" y="83"/>
                  <a:pt x="342" y="2596"/>
                  <a:pt x="0" y="4468"/>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2" name="Freeform 7">
            <a:extLst>
              <a:ext uri="{FF2B5EF4-FFF2-40B4-BE49-F238E27FC236}">
                <a16:creationId xmlns:a16="http://schemas.microsoft.com/office/drawing/2014/main" id="{18A66D6D-8F98-4660-A768-97FB85B49EDD}"/>
              </a:ext>
              <a:ext uri="{C183D7F6-B498-43B3-948B-1728B52AA6E4}">
                <adec:decorative xmlns:adec="http://schemas.microsoft.com/office/drawing/2017/decorative" val="1"/>
              </a:ext>
            </a:extLst>
          </p:cNvPr>
          <p:cNvSpPr>
            <a:spLocks/>
          </p:cNvSpPr>
          <p:nvPr userDrawn="1"/>
        </p:nvSpPr>
        <p:spPr bwMode="auto">
          <a:xfrm>
            <a:off x="178632" y="180000"/>
            <a:ext cx="11834341" cy="4674025"/>
          </a:xfrm>
          <a:custGeom>
            <a:avLst/>
            <a:gdLst>
              <a:gd name="T0" fmla="*/ 0 w 32870"/>
              <a:gd name="T1" fmla="*/ 4209 h 12980"/>
              <a:gd name="T2" fmla="*/ 0 w 32870"/>
              <a:gd name="T3" fmla="*/ 12980 h 12980"/>
              <a:gd name="T4" fmla="*/ 15744 w 32870"/>
              <a:gd name="T5" fmla="*/ 9766 h 12980"/>
              <a:gd name="T6" fmla="*/ 32870 w 32870"/>
              <a:gd name="T7" fmla="*/ 9751 h 12980"/>
              <a:gd name="T8" fmla="*/ 32870 w 32870"/>
              <a:gd name="T9" fmla="*/ 0 h 12980"/>
              <a:gd name="T10" fmla="*/ 11591 w 32870"/>
              <a:gd name="T11" fmla="*/ 0 h 12980"/>
              <a:gd name="T12" fmla="*/ 0 w 32870"/>
              <a:gd name="T13" fmla="*/ 4209 h 12980"/>
            </a:gdLst>
            <a:ahLst/>
            <a:cxnLst>
              <a:cxn ang="0">
                <a:pos x="T0" y="T1"/>
              </a:cxn>
              <a:cxn ang="0">
                <a:pos x="T2" y="T3"/>
              </a:cxn>
              <a:cxn ang="0">
                <a:pos x="T4" y="T5"/>
              </a:cxn>
              <a:cxn ang="0">
                <a:pos x="T6" y="T7"/>
              </a:cxn>
              <a:cxn ang="0">
                <a:pos x="T8" y="T9"/>
              </a:cxn>
              <a:cxn ang="0">
                <a:pos x="T10" y="T11"/>
              </a:cxn>
              <a:cxn ang="0">
                <a:pos x="T12" y="T13"/>
              </a:cxn>
            </a:cxnLst>
            <a:rect l="0" t="0" r="r" b="b"/>
            <a:pathLst>
              <a:path w="32870" h="12980">
                <a:moveTo>
                  <a:pt x="0" y="4209"/>
                </a:moveTo>
                <a:lnTo>
                  <a:pt x="0" y="12980"/>
                </a:lnTo>
                <a:cubicBezTo>
                  <a:pt x="3166" y="11041"/>
                  <a:pt x="8177" y="9815"/>
                  <a:pt x="15744" y="9766"/>
                </a:cubicBezTo>
                <a:cubicBezTo>
                  <a:pt x="16871" y="9758"/>
                  <a:pt x="24550" y="9754"/>
                  <a:pt x="32870" y="9751"/>
                </a:cubicBezTo>
                <a:lnTo>
                  <a:pt x="32870" y="0"/>
                </a:lnTo>
                <a:lnTo>
                  <a:pt x="11591" y="0"/>
                </a:lnTo>
                <a:cubicBezTo>
                  <a:pt x="10879" y="2578"/>
                  <a:pt x="7831" y="4511"/>
                  <a:pt x="0" y="4209"/>
                </a:cubicBez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3012948" y="1378395"/>
            <a:ext cx="8193024" cy="1800000"/>
          </a:xfrm>
        </p:spPr>
        <p:txBody>
          <a:bodyPr anchor="ctr" anchorCtr="0"/>
          <a:lstStyle>
            <a:lvl1pPr algn="r">
              <a:lnSpc>
                <a:spcPct val="95000"/>
              </a:lnSpc>
              <a:defRPr sz="3600">
                <a:solidFill>
                  <a:schemeClr val="bg1"/>
                </a:solidFill>
              </a:defRPr>
            </a:lvl1pPr>
          </a:lstStyle>
          <a:p>
            <a:r>
              <a:rPr lang="fi-FI"/>
              <a:t>Otsikko, Esityksen aloitussivu </a:t>
            </a:r>
            <a:br>
              <a:rPr lang="fi-FI"/>
            </a:br>
            <a:r>
              <a:rPr lang="fi-FI"/>
              <a:t>– </a:t>
            </a:r>
            <a:r>
              <a:rPr lang="fi-FI" err="1"/>
              <a:t>Arial</a:t>
            </a:r>
            <a:r>
              <a:rPr lang="fi-FI"/>
              <a:t> </a:t>
            </a:r>
            <a:r>
              <a:rPr lang="fi-FI" err="1"/>
              <a:t>Bold</a:t>
            </a:r>
            <a:br>
              <a:rPr lang="fi-FI"/>
            </a:br>
            <a:r>
              <a:rPr lang="fi-FI" err="1"/>
              <a:t>max</a:t>
            </a:r>
            <a:r>
              <a:rPr lang="fi-FI"/>
              <a:t>. kolme riviä</a:t>
            </a:r>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p:nvPr>
        </p:nvSpPr>
        <p:spPr>
          <a:xfrm>
            <a:off x="2935458" y="5732590"/>
            <a:ext cx="7060949" cy="642035"/>
          </a:xfrm>
        </p:spPr>
        <p:txBody>
          <a:bodyPr/>
          <a:lstStyle>
            <a:lvl1pPr marL="0" indent="0" algn="r">
              <a:lnSpc>
                <a:spcPct val="110000"/>
              </a:lnSpc>
              <a:spcBef>
                <a:spcPts val="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
        <p:nvSpPr>
          <p:cNvPr id="4" name="Päivämäärän paikkamerkki 3">
            <a:extLst>
              <a:ext uri="{FF2B5EF4-FFF2-40B4-BE49-F238E27FC236}">
                <a16:creationId xmlns:a16="http://schemas.microsoft.com/office/drawing/2014/main" id="{FB88DF8E-5E02-40AB-90C4-DE45B779F046}"/>
              </a:ext>
            </a:extLst>
          </p:cNvPr>
          <p:cNvSpPr>
            <a:spLocks noGrp="1"/>
          </p:cNvSpPr>
          <p:nvPr>
            <p:ph type="dt" sz="half" idx="10"/>
          </p:nvPr>
        </p:nvSpPr>
        <p:spPr>
          <a:xfrm>
            <a:off x="10014879" y="5732590"/>
            <a:ext cx="1242000" cy="642035"/>
          </a:xfrm>
        </p:spPr>
        <p:txBody>
          <a:bodyPr vert="horz" lIns="0" tIns="0" rIns="0" bIns="0" rtlCol="0" anchor="t" anchorCtr="0">
            <a:noAutofit/>
          </a:bodyPr>
          <a:lstStyle>
            <a:lvl1pPr>
              <a:defRPr lang="fi-FI" sz="1600" smtClean="0">
                <a:solidFill>
                  <a:schemeClr val="tx2"/>
                </a:solidFill>
              </a:defRPr>
            </a:lvl1pPr>
          </a:lstStyle>
          <a:p>
            <a:pPr algn="r">
              <a:lnSpc>
                <a:spcPct val="110000"/>
              </a:lnSpc>
              <a:buClr>
                <a:schemeClr val="tx2"/>
              </a:buClr>
            </a:pPr>
            <a:r>
              <a:rPr lang="fi-FI"/>
              <a:t>|  26.4.2022</a:t>
            </a:r>
            <a:endParaRPr lang="fi-FI" sz="1600">
              <a:solidFill>
                <a:schemeClr val="tx2"/>
              </a:solidFill>
            </a:endParaRPr>
          </a:p>
        </p:txBody>
      </p:sp>
      <p:sp>
        <p:nvSpPr>
          <p:cNvPr id="5" name="Alatunnisteen paikkamerkki 4">
            <a:extLst>
              <a:ext uri="{FF2B5EF4-FFF2-40B4-BE49-F238E27FC236}">
                <a16:creationId xmlns:a16="http://schemas.microsoft.com/office/drawing/2014/main" id="{9E79E75F-9A0D-4860-913E-C4C401DADF38}"/>
              </a:ext>
            </a:extLst>
          </p:cNvPr>
          <p:cNvSpPr>
            <a:spLocks noGrp="1"/>
          </p:cNvSpPr>
          <p:nvPr>
            <p:ph type="ftr" sz="quarter" idx="11"/>
          </p:nvPr>
        </p:nvSpPr>
        <p:spPr>
          <a:xfrm>
            <a:off x="7128116" y="5455057"/>
            <a:ext cx="4114800" cy="204601"/>
          </a:xfrm>
        </p:spPr>
        <p:txBody>
          <a:bodyPr/>
          <a:lstStyle>
            <a:lvl1pPr algn="r">
              <a:defRPr lang="fi-FI" sz="1600" kern="1200" dirty="0" smtClean="0">
                <a:solidFill>
                  <a:schemeClr val="tx2"/>
                </a:solidFill>
                <a:latin typeface="+mn-lt"/>
                <a:ea typeface="+mn-ea"/>
                <a:cs typeface="+mn-cs"/>
              </a:defRPr>
            </a:lvl1pPr>
          </a:lstStyle>
          <a:p>
            <a:r>
              <a:rPr lang="fi-FI"/>
              <a:t>Päivi Hautaniemi</a:t>
            </a:r>
            <a:endParaRPr lang="fi-FI" sz="1600" kern="1200">
              <a:solidFill>
                <a:schemeClr val="tx2"/>
              </a:solidFill>
              <a:latin typeface="+mn-lt"/>
              <a:ea typeface="+mn-ea"/>
              <a:cs typeface="+mn-cs"/>
            </a:endParaRPr>
          </a:p>
        </p:txBody>
      </p:sp>
    </p:spTree>
    <p:extLst>
      <p:ext uri="{BB962C8B-B14F-4D97-AF65-F5344CB8AC3E}">
        <p14:creationId xmlns:p14="http://schemas.microsoft.com/office/powerpoint/2010/main" val="399845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Otsikkodia 2" type="title" preserve="1">
  <p:cSld name="Otsikkodia 2">
    <p:spTree>
      <p:nvGrpSpPr>
        <p:cNvPr id="1" name=""/>
        <p:cNvGrpSpPr/>
        <p:nvPr/>
      </p:nvGrpSpPr>
      <p:grpSpPr>
        <a:xfrm>
          <a:off x="0" y="0"/>
          <a:ext cx="0" cy="0"/>
          <a:chOff x="0" y="0"/>
          <a:chExt cx="0" cy="0"/>
        </a:xfrm>
      </p:grpSpPr>
      <p:sp>
        <p:nvSpPr>
          <p:cNvPr id="9" name="Freeform 12">
            <a:extLst>
              <a:ext uri="{FF2B5EF4-FFF2-40B4-BE49-F238E27FC236}">
                <a16:creationId xmlns:a16="http://schemas.microsoft.com/office/drawing/2014/main" id="{05F8CEAE-2B96-485D-B411-8B7C510B05C6}"/>
              </a:ext>
              <a:ext uri="{C183D7F6-B498-43B3-948B-1728B52AA6E4}">
                <adec:decorative xmlns:adec="http://schemas.microsoft.com/office/drawing/2017/decorative" val="1"/>
              </a:ext>
            </a:extLst>
          </p:cNvPr>
          <p:cNvSpPr>
            <a:spLocks/>
          </p:cNvSpPr>
          <p:nvPr userDrawn="1"/>
        </p:nvSpPr>
        <p:spPr bwMode="auto">
          <a:xfrm>
            <a:off x="178632" y="3939871"/>
            <a:ext cx="11834341" cy="2720456"/>
          </a:xfrm>
          <a:custGeom>
            <a:avLst/>
            <a:gdLst>
              <a:gd name="T0" fmla="*/ 0 w 32870"/>
              <a:gd name="T1" fmla="*/ 2226 h 7380"/>
              <a:gd name="T2" fmla="*/ 0 w 32870"/>
              <a:gd name="T3" fmla="*/ 7380 h 7380"/>
              <a:gd name="T4" fmla="*/ 14422 w 32870"/>
              <a:gd name="T5" fmla="*/ 4565 h 7380"/>
              <a:gd name="T6" fmla="*/ 32870 w 32870"/>
              <a:gd name="T7" fmla="*/ 4560 h 7380"/>
              <a:gd name="T8" fmla="*/ 32870 w 32870"/>
              <a:gd name="T9" fmla="*/ 0 h 7380"/>
              <a:gd name="T10" fmla="*/ 13779 w 32870"/>
              <a:gd name="T11" fmla="*/ 16 h 7380"/>
              <a:gd name="T12" fmla="*/ 0 w 32870"/>
              <a:gd name="T13" fmla="*/ 2226 h 7380"/>
            </a:gdLst>
            <a:ahLst/>
            <a:cxnLst>
              <a:cxn ang="0">
                <a:pos x="T0" y="T1"/>
              </a:cxn>
              <a:cxn ang="0">
                <a:pos x="T2" y="T3"/>
              </a:cxn>
              <a:cxn ang="0">
                <a:pos x="T4" y="T5"/>
              </a:cxn>
              <a:cxn ang="0">
                <a:pos x="T6" y="T7"/>
              </a:cxn>
              <a:cxn ang="0">
                <a:pos x="T8" y="T9"/>
              </a:cxn>
              <a:cxn ang="0">
                <a:pos x="T10" y="T11"/>
              </a:cxn>
              <a:cxn ang="0">
                <a:pos x="T12" y="T13"/>
              </a:cxn>
            </a:cxnLst>
            <a:rect l="0" t="0" r="r" b="b"/>
            <a:pathLst>
              <a:path w="32870" h="7380">
                <a:moveTo>
                  <a:pt x="0" y="2226"/>
                </a:moveTo>
                <a:lnTo>
                  <a:pt x="0" y="7380"/>
                </a:lnTo>
                <a:cubicBezTo>
                  <a:pt x="4241" y="4951"/>
                  <a:pt x="10659" y="4560"/>
                  <a:pt x="14422" y="4565"/>
                </a:cubicBezTo>
                <a:cubicBezTo>
                  <a:pt x="15294" y="4566"/>
                  <a:pt x="23963" y="4563"/>
                  <a:pt x="32870" y="4560"/>
                </a:cubicBezTo>
                <a:lnTo>
                  <a:pt x="32870" y="0"/>
                </a:lnTo>
                <a:cubicBezTo>
                  <a:pt x="23927" y="3"/>
                  <a:pt x="15112" y="8"/>
                  <a:pt x="13779" y="16"/>
                </a:cubicBezTo>
                <a:cubicBezTo>
                  <a:pt x="7620" y="56"/>
                  <a:pt x="3156" y="876"/>
                  <a:pt x="0" y="2226"/>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1" name="Freeform 13">
            <a:extLst>
              <a:ext uri="{FF2B5EF4-FFF2-40B4-BE49-F238E27FC236}">
                <a16:creationId xmlns:a16="http://schemas.microsoft.com/office/drawing/2014/main" id="{E1153FAC-44DF-431E-A26D-60482F426736}"/>
              </a:ext>
              <a:ext uri="{C183D7F6-B498-43B3-948B-1728B52AA6E4}">
                <adec:decorative xmlns:adec="http://schemas.microsoft.com/office/drawing/2017/decorative" val="1"/>
              </a:ext>
            </a:extLst>
          </p:cNvPr>
          <p:cNvSpPr>
            <a:spLocks/>
          </p:cNvSpPr>
          <p:nvPr userDrawn="1"/>
        </p:nvSpPr>
        <p:spPr bwMode="auto">
          <a:xfrm>
            <a:off x="178632" y="180000"/>
            <a:ext cx="11834341" cy="4632577"/>
          </a:xfrm>
          <a:custGeom>
            <a:avLst/>
            <a:gdLst>
              <a:gd name="T0" fmla="*/ 32870 w 32870"/>
              <a:gd name="T1" fmla="*/ 11160 h 12864"/>
              <a:gd name="T2" fmla="*/ 32870 w 32870"/>
              <a:gd name="T3" fmla="*/ 0 h 12864"/>
              <a:gd name="T4" fmla="*/ 11591 w 32870"/>
              <a:gd name="T5" fmla="*/ 0 h 12864"/>
              <a:gd name="T6" fmla="*/ 0 w 32870"/>
              <a:gd name="T7" fmla="*/ 4209 h 12864"/>
              <a:gd name="T8" fmla="*/ 0 w 32870"/>
              <a:gd name="T9" fmla="*/ 12864 h 12864"/>
              <a:gd name="T10" fmla="*/ 13779 w 32870"/>
              <a:gd name="T11" fmla="*/ 10654 h 12864"/>
              <a:gd name="T12" fmla="*/ 32870 w 32870"/>
              <a:gd name="T13" fmla="*/ 10638 h 12864"/>
              <a:gd name="T14" fmla="*/ 32870 w 32870"/>
              <a:gd name="T15" fmla="*/ 11160 h 128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70" h="12864">
                <a:moveTo>
                  <a:pt x="32870" y="11160"/>
                </a:moveTo>
                <a:lnTo>
                  <a:pt x="32870" y="0"/>
                </a:lnTo>
                <a:lnTo>
                  <a:pt x="11591" y="0"/>
                </a:lnTo>
                <a:cubicBezTo>
                  <a:pt x="10879" y="2578"/>
                  <a:pt x="7831" y="4511"/>
                  <a:pt x="0" y="4209"/>
                </a:cubicBezTo>
                <a:lnTo>
                  <a:pt x="0" y="12864"/>
                </a:lnTo>
                <a:cubicBezTo>
                  <a:pt x="3156" y="11514"/>
                  <a:pt x="7620" y="10694"/>
                  <a:pt x="13779" y="10654"/>
                </a:cubicBezTo>
                <a:cubicBezTo>
                  <a:pt x="15112" y="10646"/>
                  <a:pt x="23927" y="10641"/>
                  <a:pt x="32870" y="10638"/>
                </a:cubicBezTo>
                <a:lnTo>
                  <a:pt x="32870" y="11160"/>
                </a:ln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3012948" y="1720931"/>
            <a:ext cx="8193024" cy="1800000"/>
          </a:xfrm>
        </p:spPr>
        <p:txBody>
          <a:bodyPr anchor="ctr" anchorCtr="0"/>
          <a:lstStyle>
            <a:lvl1pPr algn="r">
              <a:lnSpc>
                <a:spcPct val="95000"/>
              </a:lnSpc>
              <a:defRPr sz="3600">
                <a:solidFill>
                  <a:schemeClr val="bg1"/>
                </a:solidFill>
              </a:defRPr>
            </a:lvl1pPr>
          </a:lstStyle>
          <a:p>
            <a:r>
              <a:rPr lang="fi-FI"/>
              <a:t>Otsikko, Esityksen aloitussivu </a:t>
            </a:r>
            <a:br>
              <a:rPr lang="fi-FI"/>
            </a:br>
            <a:r>
              <a:rPr lang="fi-FI"/>
              <a:t>– </a:t>
            </a:r>
            <a:r>
              <a:rPr lang="fi-FI" err="1"/>
              <a:t>Arial</a:t>
            </a:r>
            <a:r>
              <a:rPr lang="fi-FI"/>
              <a:t> </a:t>
            </a:r>
            <a:r>
              <a:rPr lang="fi-FI" err="1"/>
              <a:t>Bold</a:t>
            </a:r>
            <a:br>
              <a:rPr lang="fi-FI"/>
            </a:br>
            <a:r>
              <a:rPr lang="fi-FI" err="1"/>
              <a:t>max</a:t>
            </a:r>
            <a:r>
              <a:rPr lang="fi-FI"/>
              <a:t>. kolme riviä</a:t>
            </a:r>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p:nvPr>
        </p:nvSpPr>
        <p:spPr>
          <a:xfrm>
            <a:off x="2935458" y="4737495"/>
            <a:ext cx="7068698" cy="642035"/>
          </a:xfrm>
        </p:spPr>
        <p:txBody>
          <a:bodyPr anchor="t" anchorCtr="0"/>
          <a:lstStyle>
            <a:lvl1pPr marL="0" indent="0" algn="r">
              <a:lnSpc>
                <a:spcPct val="11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
        <p:nvSpPr>
          <p:cNvPr id="14" name="Päivämäärän paikkamerkki 3">
            <a:extLst>
              <a:ext uri="{FF2B5EF4-FFF2-40B4-BE49-F238E27FC236}">
                <a16:creationId xmlns:a16="http://schemas.microsoft.com/office/drawing/2014/main" id="{39075F1A-02C4-4735-B1E3-C64DC67FE1F0}"/>
              </a:ext>
            </a:extLst>
          </p:cNvPr>
          <p:cNvSpPr>
            <a:spLocks noGrp="1"/>
          </p:cNvSpPr>
          <p:nvPr>
            <p:ph type="dt" sz="half" idx="10"/>
          </p:nvPr>
        </p:nvSpPr>
        <p:spPr>
          <a:xfrm>
            <a:off x="10004156" y="4737495"/>
            <a:ext cx="1240109" cy="642035"/>
          </a:xfrm>
        </p:spPr>
        <p:txBody>
          <a:bodyPr vert="horz" lIns="0" tIns="0" rIns="0" bIns="0" rtlCol="0" anchor="t" anchorCtr="0">
            <a:noAutofit/>
          </a:bodyPr>
          <a:lstStyle>
            <a:lvl1pPr>
              <a:defRPr lang="fi-FI" sz="1600" smtClean="0">
                <a:solidFill>
                  <a:schemeClr val="bg1"/>
                </a:solidFill>
              </a:defRPr>
            </a:lvl1pPr>
          </a:lstStyle>
          <a:p>
            <a:pPr algn="r">
              <a:lnSpc>
                <a:spcPct val="110000"/>
              </a:lnSpc>
              <a:buClr>
                <a:schemeClr val="tx2"/>
              </a:buClr>
            </a:pPr>
            <a:r>
              <a:rPr lang="fi-FI"/>
              <a:t>|  26.4.2022</a:t>
            </a:r>
            <a:endParaRPr lang="fi-FI" sz="1600">
              <a:solidFill>
                <a:schemeClr val="bg1"/>
              </a:solidFill>
            </a:endParaRPr>
          </a:p>
        </p:txBody>
      </p:sp>
      <p:sp>
        <p:nvSpPr>
          <p:cNvPr id="15" name="Alatunnisteen paikkamerkki 4">
            <a:extLst>
              <a:ext uri="{FF2B5EF4-FFF2-40B4-BE49-F238E27FC236}">
                <a16:creationId xmlns:a16="http://schemas.microsoft.com/office/drawing/2014/main" id="{6BD6B811-C650-4A18-9C6D-CB0DEFCA71A4}"/>
              </a:ext>
            </a:extLst>
          </p:cNvPr>
          <p:cNvSpPr>
            <a:spLocks noGrp="1"/>
          </p:cNvSpPr>
          <p:nvPr>
            <p:ph type="ftr" sz="quarter" idx="11"/>
          </p:nvPr>
        </p:nvSpPr>
        <p:spPr>
          <a:xfrm>
            <a:off x="7091172" y="4459962"/>
            <a:ext cx="4114800" cy="204601"/>
          </a:xfrm>
        </p:spPr>
        <p:txBody>
          <a:bodyPr vert="horz" lIns="0" tIns="0" rIns="0" bIns="0" rtlCol="0" anchor="t" anchorCtr="0">
            <a:noAutofit/>
          </a:bodyPr>
          <a:lstStyle>
            <a:lvl1pPr algn="r">
              <a:defRPr lang="fi-FI" sz="1600" dirty="0" smtClean="0">
                <a:solidFill>
                  <a:schemeClr val="bg1"/>
                </a:solidFill>
              </a:defRPr>
            </a:lvl1pPr>
          </a:lstStyle>
          <a:p>
            <a:pPr>
              <a:lnSpc>
                <a:spcPct val="110000"/>
              </a:lnSpc>
              <a:buClr>
                <a:schemeClr val="tx2"/>
              </a:buClr>
            </a:pPr>
            <a:r>
              <a:rPr lang="fi-FI"/>
              <a:t>Päivi Hautaniemi</a:t>
            </a:r>
            <a:endParaRPr lang="fi-FI" sz="1600">
              <a:solidFill>
                <a:schemeClr val="bg1"/>
              </a:solidFill>
            </a:endParaRPr>
          </a:p>
        </p:txBody>
      </p:sp>
    </p:spTree>
    <p:extLst>
      <p:ext uri="{BB962C8B-B14F-4D97-AF65-F5344CB8AC3E}">
        <p14:creationId xmlns:p14="http://schemas.microsoft.com/office/powerpoint/2010/main" val="3873590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Otsikkodia 3" preserve="1" userDrawn="1">
  <p:cSld name="Otsikkodia 3">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19E26A5B-0527-2A40-8198-D97AB2849A7A}"/>
              </a:ext>
              <a:ext uri="{C183D7F6-B498-43B3-948B-1728B52AA6E4}">
                <adec:decorative xmlns:adec="http://schemas.microsoft.com/office/drawing/2017/decorative" val="1"/>
              </a:ext>
            </a:extLst>
          </p:cNvPr>
          <p:cNvSpPr>
            <a:spLocks/>
          </p:cNvSpPr>
          <p:nvPr userDrawn="1"/>
        </p:nvSpPr>
        <p:spPr bwMode="auto">
          <a:xfrm>
            <a:off x="178630" y="180000"/>
            <a:ext cx="11834343" cy="5653369"/>
          </a:xfrm>
          <a:custGeom>
            <a:avLst/>
            <a:gdLst>
              <a:gd name="connsiteX0" fmla="*/ 4173164 w 11834343"/>
              <a:gd name="connsiteY0" fmla="*/ 0 h 5653369"/>
              <a:gd name="connsiteX1" fmla="*/ 11834343 w 11834343"/>
              <a:gd name="connsiteY1" fmla="*/ 0 h 5653369"/>
              <a:gd name="connsiteX2" fmla="*/ 11834343 w 11834343"/>
              <a:gd name="connsiteY2" fmla="*/ 613369 h 5653369"/>
              <a:gd name="connsiteX3" fmla="*/ 11834343 w 11834343"/>
              <a:gd name="connsiteY3" fmla="*/ 3830951 h 5653369"/>
              <a:gd name="connsiteX4" fmla="*/ 11834343 w 11834343"/>
              <a:gd name="connsiteY4" fmla="*/ 4781242 h 5653369"/>
              <a:gd name="connsiteX5" fmla="*/ 2 w 11834343"/>
              <a:gd name="connsiteY5" fmla="*/ 5653369 h 5653369"/>
              <a:gd name="connsiteX6" fmla="*/ 2 w 11834343"/>
              <a:gd name="connsiteY6" fmla="*/ 4632577 h 5653369"/>
              <a:gd name="connsiteX7" fmla="*/ 2 w 11834343"/>
              <a:gd name="connsiteY7" fmla="*/ 2262418 h 5653369"/>
              <a:gd name="connsiteX8" fmla="*/ 2 w 11834343"/>
              <a:gd name="connsiteY8" fmla="*/ 1515743 h 5653369"/>
              <a:gd name="connsiteX9" fmla="*/ 4173164 w 11834343"/>
              <a:gd name="connsiteY9" fmla="*/ 0 h 5653369"/>
              <a:gd name="connsiteX0" fmla="*/ 4173164 w 11834343"/>
              <a:gd name="connsiteY0" fmla="*/ 0 h 5653369"/>
              <a:gd name="connsiteX1" fmla="*/ 11834343 w 11834343"/>
              <a:gd name="connsiteY1" fmla="*/ 0 h 5653369"/>
              <a:gd name="connsiteX2" fmla="*/ 11834343 w 11834343"/>
              <a:gd name="connsiteY2" fmla="*/ 613369 h 5653369"/>
              <a:gd name="connsiteX3" fmla="*/ 11834343 w 11834343"/>
              <a:gd name="connsiteY3" fmla="*/ 3830951 h 5653369"/>
              <a:gd name="connsiteX4" fmla="*/ 11834343 w 11834343"/>
              <a:gd name="connsiteY4" fmla="*/ 4781242 h 5653369"/>
              <a:gd name="connsiteX5" fmla="*/ 2 w 11834343"/>
              <a:gd name="connsiteY5" fmla="*/ 5653369 h 5653369"/>
              <a:gd name="connsiteX6" fmla="*/ 2 w 11834343"/>
              <a:gd name="connsiteY6" fmla="*/ 2262418 h 5653369"/>
              <a:gd name="connsiteX7" fmla="*/ 2 w 11834343"/>
              <a:gd name="connsiteY7" fmla="*/ 1515743 h 5653369"/>
              <a:gd name="connsiteX8" fmla="*/ 4173164 w 11834343"/>
              <a:gd name="connsiteY8" fmla="*/ 0 h 5653369"/>
              <a:gd name="connsiteX0" fmla="*/ 4173164 w 11834343"/>
              <a:gd name="connsiteY0" fmla="*/ 0 h 5653369"/>
              <a:gd name="connsiteX1" fmla="*/ 11834343 w 11834343"/>
              <a:gd name="connsiteY1" fmla="*/ 0 h 5653369"/>
              <a:gd name="connsiteX2" fmla="*/ 11834343 w 11834343"/>
              <a:gd name="connsiteY2" fmla="*/ 613369 h 5653369"/>
              <a:gd name="connsiteX3" fmla="*/ 11834343 w 11834343"/>
              <a:gd name="connsiteY3" fmla="*/ 3830951 h 5653369"/>
              <a:gd name="connsiteX4" fmla="*/ 11834343 w 11834343"/>
              <a:gd name="connsiteY4" fmla="*/ 4781242 h 5653369"/>
              <a:gd name="connsiteX5" fmla="*/ 2 w 11834343"/>
              <a:gd name="connsiteY5" fmla="*/ 5653369 h 5653369"/>
              <a:gd name="connsiteX6" fmla="*/ 2 w 11834343"/>
              <a:gd name="connsiteY6" fmla="*/ 1515743 h 5653369"/>
              <a:gd name="connsiteX7" fmla="*/ 4173164 w 11834343"/>
              <a:gd name="connsiteY7" fmla="*/ 0 h 5653369"/>
              <a:gd name="connsiteX0" fmla="*/ 4173164 w 11834343"/>
              <a:gd name="connsiteY0" fmla="*/ 0 h 5653369"/>
              <a:gd name="connsiteX1" fmla="*/ 11834343 w 11834343"/>
              <a:gd name="connsiteY1" fmla="*/ 0 h 5653369"/>
              <a:gd name="connsiteX2" fmla="*/ 11834343 w 11834343"/>
              <a:gd name="connsiteY2" fmla="*/ 613369 h 5653369"/>
              <a:gd name="connsiteX3" fmla="*/ 11834343 w 11834343"/>
              <a:gd name="connsiteY3" fmla="*/ 4781242 h 5653369"/>
              <a:gd name="connsiteX4" fmla="*/ 2 w 11834343"/>
              <a:gd name="connsiteY4" fmla="*/ 5653369 h 5653369"/>
              <a:gd name="connsiteX5" fmla="*/ 2 w 11834343"/>
              <a:gd name="connsiteY5" fmla="*/ 1515743 h 5653369"/>
              <a:gd name="connsiteX6" fmla="*/ 4173164 w 11834343"/>
              <a:gd name="connsiteY6" fmla="*/ 0 h 5653369"/>
              <a:gd name="connsiteX0" fmla="*/ 4173164 w 11834343"/>
              <a:gd name="connsiteY0" fmla="*/ 0 h 5653369"/>
              <a:gd name="connsiteX1" fmla="*/ 11834343 w 11834343"/>
              <a:gd name="connsiteY1" fmla="*/ 0 h 5653369"/>
              <a:gd name="connsiteX2" fmla="*/ 11834343 w 11834343"/>
              <a:gd name="connsiteY2" fmla="*/ 4781242 h 5653369"/>
              <a:gd name="connsiteX3" fmla="*/ 2 w 11834343"/>
              <a:gd name="connsiteY3" fmla="*/ 5653369 h 5653369"/>
              <a:gd name="connsiteX4" fmla="*/ 2 w 11834343"/>
              <a:gd name="connsiteY4" fmla="*/ 1515743 h 5653369"/>
              <a:gd name="connsiteX5" fmla="*/ 4173164 w 11834343"/>
              <a:gd name="connsiteY5" fmla="*/ 0 h 565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34343" h="5653369">
                <a:moveTo>
                  <a:pt x="4173164" y="0"/>
                </a:moveTo>
                <a:lnTo>
                  <a:pt x="11834343" y="0"/>
                </a:lnTo>
                <a:lnTo>
                  <a:pt x="11834343" y="4781242"/>
                </a:lnTo>
                <a:cubicBezTo>
                  <a:pt x="11819942" y="4767138"/>
                  <a:pt x="-5758" y="5651802"/>
                  <a:pt x="2" y="5653369"/>
                </a:cubicBezTo>
                <a:lnTo>
                  <a:pt x="2" y="1515743"/>
                </a:lnTo>
                <a:cubicBezTo>
                  <a:pt x="2819434" y="1624499"/>
                  <a:pt x="3916820" y="928388"/>
                  <a:pt x="4173164" y="0"/>
                </a:cubicBez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fi-FI"/>
          </a:p>
        </p:txBody>
      </p:sp>
      <p:sp>
        <p:nvSpPr>
          <p:cNvPr id="13" name="Kuvan paikkamerkki 2">
            <a:extLst>
              <a:ext uri="{FF2B5EF4-FFF2-40B4-BE49-F238E27FC236}">
                <a16:creationId xmlns:a16="http://schemas.microsoft.com/office/drawing/2014/main" id="{BFBF6B36-2C5D-4C96-B600-824137F550F2}"/>
              </a:ext>
              <a:ext uri="{C183D7F6-B498-43B3-948B-1728B52AA6E4}">
                <adec:decorative xmlns:adec="http://schemas.microsoft.com/office/drawing/2017/decorative" val="1"/>
              </a:ext>
            </a:extLst>
          </p:cNvPr>
          <p:cNvSpPr>
            <a:spLocks noGrp="1"/>
          </p:cNvSpPr>
          <p:nvPr>
            <p:ph type="pic" idx="13" hasCustomPrompt="1"/>
          </p:nvPr>
        </p:nvSpPr>
        <p:spPr>
          <a:xfrm>
            <a:off x="178858" y="3996390"/>
            <a:ext cx="11834341" cy="2681610"/>
          </a:xfrm>
          <a:custGeom>
            <a:avLst/>
            <a:gdLst>
              <a:gd name="connsiteX0" fmla="*/ 0 w 11834341"/>
              <a:gd name="connsiteY0" fmla="*/ 0 h 2987423"/>
              <a:gd name="connsiteX1" fmla="*/ 11834341 w 11834341"/>
              <a:gd name="connsiteY1" fmla="*/ 0 h 2987423"/>
              <a:gd name="connsiteX2" fmla="*/ 11834341 w 11834341"/>
              <a:gd name="connsiteY2" fmla="*/ 2987423 h 2987423"/>
              <a:gd name="connsiteX3" fmla="*/ 0 w 11834341"/>
              <a:gd name="connsiteY3" fmla="*/ 2987423 h 2987423"/>
              <a:gd name="connsiteX4" fmla="*/ 0 w 11834341"/>
              <a:gd name="connsiteY4" fmla="*/ 0 h 2987423"/>
              <a:gd name="connsiteX0" fmla="*/ 9467 w 11843808"/>
              <a:gd name="connsiteY0" fmla="*/ 0 h 2987423"/>
              <a:gd name="connsiteX1" fmla="*/ 11843808 w 11843808"/>
              <a:gd name="connsiteY1" fmla="*/ 0 h 2987423"/>
              <a:gd name="connsiteX2" fmla="*/ 11843808 w 11843808"/>
              <a:gd name="connsiteY2" fmla="*/ 2987423 h 2987423"/>
              <a:gd name="connsiteX3" fmla="*/ 9467 w 11843808"/>
              <a:gd name="connsiteY3" fmla="*/ 2987423 h 2987423"/>
              <a:gd name="connsiteX4" fmla="*/ 0 w 11843808"/>
              <a:gd name="connsiteY4" fmla="*/ 1159280 h 2987423"/>
              <a:gd name="connsiteX5" fmla="*/ 9467 w 11843808"/>
              <a:gd name="connsiteY5" fmla="*/ 0 h 2987423"/>
              <a:gd name="connsiteX0" fmla="*/ 9467 w 11843808"/>
              <a:gd name="connsiteY0" fmla="*/ 2008 h 2989431"/>
              <a:gd name="connsiteX1" fmla="*/ 5925312 w 11843808"/>
              <a:gd name="connsiteY1" fmla="*/ 0 h 2989431"/>
              <a:gd name="connsiteX2" fmla="*/ 11843808 w 11843808"/>
              <a:gd name="connsiteY2" fmla="*/ 2008 h 2989431"/>
              <a:gd name="connsiteX3" fmla="*/ 11843808 w 11843808"/>
              <a:gd name="connsiteY3" fmla="*/ 2989431 h 2989431"/>
              <a:gd name="connsiteX4" fmla="*/ 9467 w 11843808"/>
              <a:gd name="connsiteY4" fmla="*/ 2989431 h 2989431"/>
              <a:gd name="connsiteX5" fmla="*/ 0 w 11843808"/>
              <a:gd name="connsiteY5" fmla="*/ 1161288 h 2989431"/>
              <a:gd name="connsiteX6" fmla="*/ 9467 w 11843808"/>
              <a:gd name="connsiteY6" fmla="*/ 2008 h 2989431"/>
              <a:gd name="connsiteX0" fmla="*/ 650 w 11834991"/>
              <a:gd name="connsiteY0" fmla="*/ 2008 h 2989431"/>
              <a:gd name="connsiteX1" fmla="*/ 5916495 w 11834991"/>
              <a:gd name="connsiteY1" fmla="*/ 0 h 2989431"/>
              <a:gd name="connsiteX2" fmla="*/ 11834991 w 11834991"/>
              <a:gd name="connsiteY2" fmla="*/ 2008 h 2989431"/>
              <a:gd name="connsiteX3" fmla="*/ 11834991 w 11834991"/>
              <a:gd name="connsiteY3" fmla="*/ 2989431 h 2989431"/>
              <a:gd name="connsiteX4" fmla="*/ 650 w 11834991"/>
              <a:gd name="connsiteY4" fmla="*/ 2989431 h 2989431"/>
              <a:gd name="connsiteX5" fmla="*/ 3883 w 11834991"/>
              <a:gd name="connsiteY5" fmla="*/ 1164463 h 2989431"/>
              <a:gd name="connsiteX6" fmla="*/ 650 w 11834991"/>
              <a:gd name="connsiteY6" fmla="*/ 2008 h 2989431"/>
              <a:gd name="connsiteX0" fmla="*/ 3883 w 11834991"/>
              <a:gd name="connsiteY0" fmla="*/ 1164463 h 2989431"/>
              <a:gd name="connsiteX1" fmla="*/ 5916495 w 11834991"/>
              <a:gd name="connsiteY1" fmla="*/ 0 h 2989431"/>
              <a:gd name="connsiteX2" fmla="*/ 11834991 w 11834991"/>
              <a:gd name="connsiteY2" fmla="*/ 2008 h 2989431"/>
              <a:gd name="connsiteX3" fmla="*/ 11834991 w 11834991"/>
              <a:gd name="connsiteY3" fmla="*/ 2989431 h 2989431"/>
              <a:gd name="connsiteX4" fmla="*/ 650 w 11834991"/>
              <a:gd name="connsiteY4" fmla="*/ 2989431 h 2989431"/>
              <a:gd name="connsiteX5" fmla="*/ 3883 w 11834991"/>
              <a:gd name="connsiteY5" fmla="*/ 1164463 h 2989431"/>
              <a:gd name="connsiteX0" fmla="*/ 3883 w 11834991"/>
              <a:gd name="connsiteY0" fmla="*/ 1164463 h 2989431"/>
              <a:gd name="connsiteX1" fmla="*/ 5916495 w 11834991"/>
              <a:gd name="connsiteY1" fmla="*/ 0 h 2989431"/>
              <a:gd name="connsiteX2" fmla="*/ 11834991 w 11834991"/>
              <a:gd name="connsiteY2" fmla="*/ 2008 h 2989431"/>
              <a:gd name="connsiteX3" fmla="*/ 11834991 w 11834991"/>
              <a:gd name="connsiteY3" fmla="*/ 2989431 h 2989431"/>
              <a:gd name="connsiteX4" fmla="*/ 650 w 11834991"/>
              <a:gd name="connsiteY4" fmla="*/ 2989431 h 2989431"/>
              <a:gd name="connsiteX5" fmla="*/ 3883 w 11834991"/>
              <a:gd name="connsiteY5" fmla="*/ 1164463 h 2989431"/>
              <a:gd name="connsiteX0" fmla="*/ 3883 w 11834991"/>
              <a:gd name="connsiteY0" fmla="*/ 1164732 h 2989700"/>
              <a:gd name="connsiteX1" fmla="*/ 5916495 w 11834991"/>
              <a:gd name="connsiteY1" fmla="*/ 269 h 2989700"/>
              <a:gd name="connsiteX2" fmla="*/ 11834991 w 11834991"/>
              <a:gd name="connsiteY2" fmla="*/ 2277 h 2989700"/>
              <a:gd name="connsiteX3" fmla="*/ 11834991 w 11834991"/>
              <a:gd name="connsiteY3" fmla="*/ 2989700 h 2989700"/>
              <a:gd name="connsiteX4" fmla="*/ 650 w 11834991"/>
              <a:gd name="connsiteY4" fmla="*/ 2989700 h 2989700"/>
              <a:gd name="connsiteX5" fmla="*/ 3883 w 11834991"/>
              <a:gd name="connsiteY5" fmla="*/ 1164732 h 2989700"/>
              <a:gd name="connsiteX0" fmla="*/ 3883 w 11834991"/>
              <a:gd name="connsiteY0" fmla="*/ 1164463 h 2989431"/>
              <a:gd name="connsiteX1" fmla="*/ 1805336 w 11834991"/>
              <a:gd name="connsiteY1" fmla="*/ 525357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4463 h 2989431"/>
              <a:gd name="connsiteX1" fmla="*/ 1758770 w 11834991"/>
              <a:gd name="connsiteY1" fmla="*/ 451274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4463 h 2989431"/>
              <a:gd name="connsiteX1" fmla="*/ 1758770 w 11834991"/>
              <a:gd name="connsiteY1" fmla="*/ 451274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4463 h 2989431"/>
              <a:gd name="connsiteX1" fmla="*/ 1758770 w 11834991"/>
              <a:gd name="connsiteY1" fmla="*/ 451274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6530 h 2991498"/>
              <a:gd name="connsiteX1" fmla="*/ 1758770 w 11834991"/>
              <a:gd name="connsiteY1" fmla="*/ 453341 h 2991498"/>
              <a:gd name="connsiteX2" fmla="*/ 5916495 w 11834991"/>
              <a:gd name="connsiteY2" fmla="*/ 2067 h 2991498"/>
              <a:gd name="connsiteX3" fmla="*/ 11834991 w 11834991"/>
              <a:gd name="connsiteY3" fmla="*/ 4075 h 2991498"/>
              <a:gd name="connsiteX4" fmla="*/ 11834991 w 11834991"/>
              <a:gd name="connsiteY4" fmla="*/ 2991498 h 2991498"/>
              <a:gd name="connsiteX5" fmla="*/ 650 w 11834991"/>
              <a:gd name="connsiteY5" fmla="*/ 2991498 h 2991498"/>
              <a:gd name="connsiteX6" fmla="*/ 3883 w 11834991"/>
              <a:gd name="connsiteY6" fmla="*/ 1166530 h 2991498"/>
              <a:gd name="connsiteX0" fmla="*/ 3883 w 11834991"/>
              <a:gd name="connsiteY0" fmla="*/ 1164834 h 2989802"/>
              <a:gd name="connsiteX1" fmla="*/ 1758770 w 11834991"/>
              <a:gd name="connsiteY1" fmla="*/ 451645 h 2989802"/>
              <a:gd name="connsiteX2" fmla="*/ 5916495 w 11834991"/>
              <a:gd name="connsiteY2" fmla="*/ 371 h 2989802"/>
              <a:gd name="connsiteX3" fmla="*/ 11834991 w 11834991"/>
              <a:gd name="connsiteY3" fmla="*/ 2379 h 2989802"/>
              <a:gd name="connsiteX4" fmla="*/ 11834991 w 11834991"/>
              <a:gd name="connsiteY4" fmla="*/ 2989802 h 2989802"/>
              <a:gd name="connsiteX5" fmla="*/ 650 w 11834991"/>
              <a:gd name="connsiteY5" fmla="*/ 2989802 h 2989802"/>
              <a:gd name="connsiteX6" fmla="*/ 3883 w 11834991"/>
              <a:gd name="connsiteY6" fmla="*/ 1164834 h 2989802"/>
              <a:gd name="connsiteX0" fmla="*/ 3883 w 11834991"/>
              <a:gd name="connsiteY0" fmla="*/ 1164834 h 2989802"/>
              <a:gd name="connsiteX1" fmla="*/ 1758770 w 11834991"/>
              <a:gd name="connsiteY1" fmla="*/ 451645 h 2989802"/>
              <a:gd name="connsiteX2" fmla="*/ 5916495 w 11834991"/>
              <a:gd name="connsiteY2" fmla="*/ 371 h 2989802"/>
              <a:gd name="connsiteX3" fmla="*/ 11834991 w 11834991"/>
              <a:gd name="connsiteY3" fmla="*/ 2379 h 2989802"/>
              <a:gd name="connsiteX4" fmla="*/ 11834991 w 11834991"/>
              <a:gd name="connsiteY4" fmla="*/ 2989802 h 2989802"/>
              <a:gd name="connsiteX5" fmla="*/ 650 w 11834991"/>
              <a:gd name="connsiteY5" fmla="*/ 2989802 h 2989802"/>
              <a:gd name="connsiteX6" fmla="*/ 3883 w 11834991"/>
              <a:gd name="connsiteY6" fmla="*/ 1164834 h 2989802"/>
              <a:gd name="connsiteX0" fmla="*/ 3883 w 11834991"/>
              <a:gd name="connsiteY0" fmla="*/ 1164775 h 2989743"/>
              <a:gd name="connsiteX1" fmla="*/ 1758770 w 11834991"/>
              <a:gd name="connsiteY1" fmla="*/ 451586 h 2989743"/>
              <a:gd name="connsiteX2" fmla="*/ 5916495 w 11834991"/>
              <a:gd name="connsiteY2" fmla="*/ 312 h 2989743"/>
              <a:gd name="connsiteX3" fmla="*/ 11834991 w 11834991"/>
              <a:gd name="connsiteY3" fmla="*/ 2320 h 2989743"/>
              <a:gd name="connsiteX4" fmla="*/ 11834991 w 11834991"/>
              <a:gd name="connsiteY4" fmla="*/ 2989743 h 2989743"/>
              <a:gd name="connsiteX5" fmla="*/ 650 w 11834991"/>
              <a:gd name="connsiteY5" fmla="*/ 2989743 h 2989743"/>
              <a:gd name="connsiteX6" fmla="*/ 3883 w 11834991"/>
              <a:gd name="connsiteY6" fmla="*/ 1164775 h 2989743"/>
              <a:gd name="connsiteX0" fmla="*/ 3883 w 11834991"/>
              <a:gd name="connsiteY0" fmla="*/ 1164880 h 2989848"/>
              <a:gd name="connsiteX1" fmla="*/ 1932336 w 11834991"/>
              <a:gd name="connsiteY1" fmla="*/ 411474 h 2989848"/>
              <a:gd name="connsiteX2" fmla="*/ 5916495 w 11834991"/>
              <a:gd name="connsiteY2" fmla="*/ 417 h 2989848"/>
              <a:gd name="connsiteX3" fmla="*/ 11834991 w 11834991"/>
              <a:gd name="connsiteY3" fmla="*/ 2425 h 2989848"/>
              <a:gd name="connsiteX4" fmla="*/ 11834991 w 11834991"/>
              <a:gd name="connsiteY4" fmla="*/ 2989848 h 2989848"/>
              <a:gd name="connsiteX5" fmla="*/ 650 w 11834991"/>
              <a:gd name="connsiteY5" fmla="*/ 2989848 h 2989848"/>
              <a:gd name="connsiteX6" fmla="*/ 3883 w 11834991"/>
              <a:gd name="connsiteY6" fmla="*/ 1164880 h 2989848"/>
              <a:gd name="connsiteX0" fmla="*/ 3883 w 11834991"/>
              <a:gd name="connsiteY0" fmla="*/ 1164867 h 2989835"/>
              <a:gd name="connsiteX1" fmla="*/ 1932336 w 11834991"/>
              <a:gd name="connsiteY1" fmla="*/ 411461 h 2989835"/>
              <a:gd name="connsiteX2" fmla="*/ 5916495 w 11834991"/>
              <a:gd name="connsiteY2" fmla="*/ 404 h 2989835"/>
              <a:gd name="connsiteX3" fmla="*/ 11834991 w 11834991"/>
              <a:gd name="connsiteY3" fmla="*/ 2412 h 2989835"/>
              <a:gd name="connsiteX4" fmla="*/ 11834991 w 11834991"/>
              <a:gd name="connsiteY4" fmla="*/ 2989835 h 2989835"/>
              <a:gd name="connsiteX5" fmla="*/ 650 w 11834991"/>
              <a:gd name="connsiteY5" fmla="*/ 2989835 h 2989835"/>
              <a:gd name="connsiteX6" fmla="*/ 3883 w 11834991"/>
              <a:gd name="connsiteY6" fmla="*/ 1164867 h 2989835"/>
              <a:gd name="connsiteX0" fmla="*/ 3883 w 11834991"/>
              <a:gd name="connsiteY0" fmla="*/ 1164888 h 2989856"/>
              <a:gd name="connsiteX1" fmla="*/ 1921753 w 11834991"/>
              <a:gd name="connsiteY1" fmla="*/ 405132 h 2989856"/>
              <a:gd name="connsiteX2" fmla="*/ 5916495 w 11834991"/>
              <a:gd name="connsiteY2" fmla="*/ 425 h 2989856"/>
              <a:gd name="connsiteX3" fmla="*/ 11834991 w 11834991"/>
              <a:gd name="connsiteY3" fmla="*/ 2433 h 2989856"/>
              <a:gd name="connsiteX4" fmla="*/ 11834991 w 11834991"/>
              <a:gd name="connsiteY4" fmla="*/ 2989856 h 2989856"/>
              <a:gd name="connsiteX5" fmla="*/ 650 w 11834991"/>
              <a:gd name="connsiteY5" fmla="*/ 2989856 h 2989856"/>
              <a:gd name="connsiteX6" fmla="*/ 3883 w 11834991"/>
              <a:gd name="connsiteY6" fmla="*/ 1164888 h 2989856"/>
              <a:gd name="connsiteX0" fmla="*/ 43 w 11835384"/>
              <a:gd name="connsiteY0" fmla="*/ 893516 h 2989610"/>
              <a:gd name="connsiteX1" fmla="*/ 1922146 w 11835384"/>
              <a:gd name="connsiteY1" fmla="*/ 404886 h 2989610"/>
              <a:gd name="connsiteX2" fmla="*/ 5916888 w 11835384"/>
              <a:gd name="connsiteY2" fmla="*/ 179 h 2989610"/>
              <a:gd name="connsiteX3" fmla="*/ 11835384 w 11835384"/>
              <a:gd name="connsiteY3" fmla="*/ 2187 h 2989610"/>
              <a:gd name="connsiteX4" fmla="*/ 11835384 w 11835384"/>
              <a:gd name="connsiteY4" fmla="*/ 2989610 h 2989610"/>
              <a:gd name="connsiteX5" fmla="*/ 1043 w 11835384"/>
              <a:gd name="connsiteY5" fmla="*/ 2989610 h 2989610"/>
              <a:gd name="connsiteX6" fmla="*/ 43 w 11835384"/>
              <a:gd name="connsiteY6" fmla="*/ 893516 h 2989610"/>
              <a:gd name="connsiteX0" fmla="*/ 0 w 11835341"/>
              <a:gd name="connsiteY0" fmla="*/ 893516 h 2989610"/>
              <a:gd name="connsiteX1" fmla="*/ 1922103 w 11835341"/>
              <a:gd name="connsiteY1" fmla="*/ 404886 h 2989610"/>
              <a:gd name="connsiteX2" fmla="*/ 5916845 w 11835341"/>
              <a:gd name="connsiteY2" fmla="*/ 179 h 2989610"/>
              <a:gd name="connsiteX3" fmla="*/ 11835341 w 11835341"/>
              <a:gd name="connsiteY3" fmla="*/ 2187 h 2989610"/>
              <a:gd name="connsiteX4" fmla="*/ 11835341 w 11835341"/>
              <a:gd name="connsiteY4" fmla="*/ 2989610 h 2989610"/>
              <a:gd name="connsiteX5" fmla="*/ 1000 w 11835341"/>
              <a:gd name="connsiteY5" fmla="*/ 2989610 h 2989610"/>
              <a:gd name="connsiteX6" fmla="*/ 0 w 11835341"/>
              <a:gd name="connsiteY6" fmla="*/ 893516 h 2989610"/>
              <a:gd name="connsiteX0" fmla="*/ 0 w 11835341"/>
              <a:gd name="connsiteY0" fmla="*/ 893720 h 2989814"/>
              <a:gd name="connsiteX1" fmla="*/ 2025820 w 11835341"/>
              <a:gd name="connsiteY1" fmla="*/ 260013 h 2989814"/>
              <a:gd name="connsiteX2" fmla="*/ 5916845 w 11835341"/>
              <a:gd name="connsiteY2" fmla="*/ 383 h 2989814"/>
              <a:gd name="connsiteX3" fmla="*/ 11835341 w 11835341"/>
              <a:gd name="connsiteY3" fmla="*/ 2391 h 2989814"/>
              <a:gd name="connsiteX4" fmla="*/ 11835341 w 11835341"/>
              <a:gd name="connsiteY4" fmla="*/ 2989814 h 2989814"/>
              <a:gd name="connsiteX5" fmla="*/ 1000 w 11835341"/>
              <a:gd name="connsiteY5" fmla="*/ 2989814 h 2989814"/>
              <a:gd name="connsiteX6" fmla="*/ 0 w 11835341"/>
              <a:gd name="connsiteY6" fmla="*/ 893720 h 2989814"/>
              <a:gd name="connsiteX0" fmla="*/ 0 w 11835341"/>
              <a:gd name="connsiteY0" fmla="*/ 897278 h 2993372"/>
              <a:gd name="connsiteX1" fmla="*/ 2025820 w 11835341"/>
              <a:gd name="connsiteY1" fmla="*/ 263571 h 2993372"/>
              <a:gd name="connsiteX2" fmla="*/ 5916845 w 11835341"/>
              <a:gd name="connsiteY2" fmla="*/ 3941 h 2993372"/>
              <a:gd name="connsiteX3" fmla="*/ 11835341 w 11835341"/>
              <a:gd name="connsiteY3" fmla="*/ 5949 h 2993372"/>
              <a:gd name="connsiteX4" fmla="*/ 11835341 w 11835341"/>
              <a:gd name="connsiteY4" fmla="*/ 2993372 h 2993372"/>
              <a:gd name="connsiteX5" fmla="*/ 1000 w 11835341"/>
              <a:gd name="connsiteY5" fmla="*/ 2993372 h 2993372"/>
              <a:gd name="connsiteX6" fmla="*/ 0 w 11835341"/>
              <a:gd name="connsiteY6" fmla="*/ 897278 h 2993372"/>
              <a:gd name="connsiteX0" fmla="*/ 0 w 11835341"/>
              <a:gd name="connsiteY0" fmla="*/ 898261 h 2994355"/>
              <a:gd name="connsiteX1" fmla="*/ 2025820 w 11835341"/>
              <a:gd name="connsiteY1" fmla="*/ 264554 h 2994355"/>
              <a:gd name="connsiteX2" fmla="*/ 5916845 w 11835341"/>
              <a:gd name="connsiteY2" fmla="*/ 4924 h 2994355"/>
              <a:gd name="connsiteX3" fmla="*/ 11835341 w 11835341"/>
              <a:gd name="connsiteY3" fmla="*/ 6932 h 2994355"/>
              <a:gd name="connsiteX4" fmla="*/ 11835341 w 11835341"/>
              <a:gd name="connsiteY4" fmla="*/ 2994355 h 2994355"/>
              <a:gd name="connsiteX5" fmla="*/ 1000 w 11835341"/>
              <a:gd name="connsiteY5" fmla="*/ 2994355 h 2994355"/>
              <a:gd name="connsiteX6" fmla="*/ 0 w 11835341"/>
              <a:gd name="connsiteY6" fmla="*/ 898261 h 2994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35341" h="2994355">
                <a:moveTo>
                  <a:pt x="0" y="898261"/>
                </a:moveTo>
                <a:cubicBezTo>
                  <a:pt x="436248" y="646332"/>
                  <a:pt x="1024862" y="449117"/>
                  <a:pt x="2025820" y="264554"/>
                </a:cubicBezTo>
                <a:cubicBezTo>
                  <a:pt x="3026778" y="79991"/>
                  <a:pt x="3851536" y="-24505"/>
                  <a:pt x="5916845" y="4924"/>
                </a:cubicBezTo>
                <a:lnTo>
                  <a:pt x="11835341" y="6932"/>
                </a:lnTo>
                <a:lnTo>
                  <a:pt x="11835341" y="2994355"/>
                </a:lnTo>
                <a:lnTo>
                  <a:pt x="1000" y="2994355"/>
                </a:lnTo>
                <a:cubicBezTo>
                  <a:pt x="667" y="2295657"/>
                  <a:pt x="333" y="1596959"/>
                  <a:pt x="0" y="898261"/>
                </a:cubicBezTo>
                <a:close/>
              </a:path>
            </a:pathLst>
          </a:custGeom>
          <a:solidFill>
            <a:schemeClr val="bg1">
              <a:lumMod val="95000"/>
            </a:schemeClr>
          </a:solidFill>
          <a:ln w="1270">
            <a:noFill/>
          </a:ln>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 tai valitsemalla </a:t>
            </a:r>
            <a:r>
              <a:rPr lang="fi-FI" err="1"/>
              <a:t>Kameleonin</a:t>
            </a:r>
            <a:r>
              <a:rPr lang="fi-FI"/>
              <a:t> Kuvagalleriasta</a:t>
            </a:r>
            <a:br>
              <a:rPr lang="fi-FI"/>
            </a:br>
            <a:br>
              <a:rPr lang="fi-FI"/>
            </a:br>
            <a:r>
              <a:rPr lang="fi-FI"/>
              <a:t>Voit vaihtaa kuvan Kuvagalleriasta tai poistamalla kuvan ja lisäämällä uuden kuvan napsauttamalla kuvaketta</a:t>
            </a:r>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3012948" y="1184148"/>
            <a:ext cx="8193024" cy="1800000"/>
          </a:xfrm>
        </p:spPr>
        <p:txBody>
          <a:bodyPr anchor="ctr" anchorCtr="0"/>
          <a:lstStyle>
            <a:lvl1pPr algn="r">
              <a:lnSpc>
                <a:spcPct val="95000"/>
              </a:lnSpc>
              <a:defRPr sz="3600">
                <a:solidFill>
                  <a:schemeClr val="bg1"/>
                </a:solidFill>
              </a:defRPr>
            </a:lvl1pPr>
          </a:lstStyle>
          <a:p>
            <a:r>
              <a:rPr lang="fi-FI"/>
              <a:t>Otsikko, Esityksen aloitussivu </a:t>
            </a:r>
            <a:br>
              <a:rPr lang="fi-FI"/>
            </a:br>
            <a:r>
              <a:rPr lang="fi-FI"/>
              <a:t>– </a:t>
            </a:r>
            <a:r>
              <a:rPr lang="fi-FI" err="1"/>
              <a:t>Arial</a:t>
            </a:r>
            <a:r>
              <a:rPr lang="fi-FI"/>
              <a:t> </a:t>
            </a:r>
            <a:r>
              <a:rPr lang="fi-FI" err="1"/>
              <a:t>Bold</a:t>
            </a:r>
            <a:br>
              <a:rPr lang="fi-FI"/>
            </a:br>
            <a:r>
              <a:rPr lang="fi-FI" err="1"/>
              <a:t>max</a:t>
            </a:r>
            <a:r>
              <a:rPr lang="fi-FI"/>
              <a:t>. kolme riviä</a:t>
            </a:r>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p:nvPr>
        </p:nvSpPr>
        <p:spPr>
          <a:xfrm>
            <a:off x="3012948" y="3325673"/>
            <a:ext cx="6950798" cy="642034"/>
          </a:xfrm>
        </p:spPr>
        <p:txBody>
          <a:bodyPr anchor="t" anchorCtr="0"/>
          <a:lstStyle>
            <a:lvl1pPr marL="0" indent="0" algn="r">
              <a:lnSpc>
                <a:spcPct val="11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sp>
        <p:nvSpPr>
          <p:cNvPr id="7" name="Päivämäärän paikkamerkki 3">
            <a:extLst>
              <a:ext uri="{FF2B5EF4-FFF2-40B4-BE49-F238E27FC236}">
                <a16:creationId xmlns:a16="http://schemas.microsoft.com/office/drawing/2014/main" id="{885340FB-A085-44AC-B06C-1418A7E1FA80}"/>
              </a:ext>
            </a:extLst>
          </p:cNvPr>
          <p:cNvSpPr>
            <a:spLocks noGrp="1"/>
          </p:cNvSpPr>
          <p:nvPr>
            <p:ph type="dt" sz="half" idx="10"/>
          </p:nvPr>
        </p:nvSpPr>
        <p:spPr>
          <a:xfrm>
            <a:off x="9963972" y="3326656"/>
            <a:ext cx="1242000" cy="642035"/>
          </a:xfrm>
        </p:spPr>
        <p:txBody>
          <a:bodyPr vert="horz" lIns="0" tIns="0" rIns="0" bIns="0" rtlCol="0" anchor="t" anchorCtr="0">
            <a:noAutofit/>
          </a:bodyPr>
          <a:lstStyle>
            <a:lvl1pPr>
              <a:defRPr lang="fi-FI" sz="1600" smtClean="0">
                <a:solidFill>
                  <a:schemeClr val="bg1"/>
                </a:solidFill>
              </a:defRPr>
            </a:lvl1pPr>
          </a:lstStyle>
          <a:p>
            <a:pPr algn="r">
              <a:lnSpc>
                <a:spcPct val="110000"/>
              </a:lnSpc>
              <a:buClr>
                <a:schemeClr val="tx2"/>
              </a:buClr>
            </a:pPr>
            <a:r>
              <a:rPr lang="fi-FI"/>
              <a:t>|  26.4.2022</a:t>
            </a:r>
            <a:endParaRPr lang="fi-FI" sz="1600">
              <a:solidFill>
                <a:schemeClr val="bg1"/>
              </a:solidFill>
            </a:endParaRPr>
          </a:p>
        </p:txBody>
      </p:sp>
      <p:sp>
        <p:nvSpPr>
          <p:cNvPr id="9" name="Alatunnisteen paikkamerkki 4">
            <a:extLst>
              <a:ext uri="{FF2B5EF4-FFF2-40B4-BE49-F238E27FC236}">
                <a16:creationId xmlns:a16="http://schemas.microsoft.com/office/drawing/2014/main" id="{F912D628-CD7A-4946-A2B4-D103992E9F21}"/>
              </a:ext>
            </a:extLst>
          </p:cNvPr>
          <p:cNvSpPr>
            <a:spLocks noGrp="1"/>
          </p:cNvSpPr>
          <p:nvPr>
            <p:ph type="ftr" sz="quarter" idx="11"/>
          </p:nvPr>
        </p:nvSpPr>
        <p:spPr>
          <a:xfrm>
            <a:off x="7091172" y="3052610"/>
            <a:ext cx="4114800" cy="204601"/>
          </a:xfrm>
        </p:spPr>
        <p:txBody>
          <a:bodyPr vert="horz" lIns="0" tIns="0" rIns="0" bIns="0" rtlCol="0" anchor="t" anchorCtr="0">
            <a:noAutofit/>
          </a:bodyPr>
          <a:lstStyle>
            <a:lvl1pPr algn="r">
              <a:defRPr lang="fi-FI" sz="1600" dirty="0" smtClean="0">
                <a:solidFill>
                  <a:schemeClr val="bg1"/>
                </a:solidFill>
              </a:defRPr>
            </a:lvl1pPr>
          </a:lstStyle>
          <a:p>
            <a:pPr>
              <a:lnSpc>
                <a:spcPct val="110000"/>
              </a:lnSpc>
              <a:buClr>
                <a:schemeClr val="tx2"/>
              </a:buClr>
            </a:pPr>
            <a:r>
              <a:rPr lang="fi-FI"/>
              <a:t>Päivi Hautaniemi</a:t>
            </a:r>
            <a:endParaRPr lang="fi-FI" sz="1600">
              <a:solidFill>
                <a:schemeClr val="bg1"/>
              </a:solidFill>
            </a:endParaRPr>
          </a:p>
        </p:txBody>
      </p:sp>
    </p:spTree>
    <p:extLst>
      <p:ext uri="{BB962C8B-B14F-4D97-AF65-F5344CB8AC3E}">
        <p14:creationId xmlns:p14="http://schemas.microsoft.com/office/powerpoint/2010/main" val="1705824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Otsikkodia 4" preserve="1" userDrawn="1">
  <p:cSld name="Otsikkodia 4">
    <p:spTree>
      <p:nvGrpSpPr>
        <p:cNvPr id="1" name=""/>
        <p:cNvGrpSpPr/>
        <p:nvPr/>
      </p:nvGrpSpPr>
      <p:grpSpPr>
        <a:xfrm>
          <a:off x="0" y="0"/>
          <a:ext cx="0" cy="0"/>
          <a:chOff x="0" y="0"/>
          <a:chExt cx="0" cy="0"/>
        </a:xfrm>
      </p:grpSpPr>
      <p:sp>
        <p:nvSpPr>
          <p:cNvPr id="9" name="Freeform 18">
            <a:extLst>
              <a:ext uri="{FF2B5EF4-FFF2-40B4-BE49-F238E27FC236}">
                <a16:creationId xmlns:a16="http://schemas.microsoft.com/office/drawing/2014/main" id="{9D79146F-FB5D-482D-BEE2-42A25810FC4B}"/>
              </a:ext>
              <a:ext uri="{C183D7F6-B498-43B3-948B-1728B52AA6E4}">
                <adec:decorative xmlns:adec="http://schemas.microsoft.com/office/drawing/2017/decorative" val="1"/>
              </a:ext>
            </a:extLst>
          </p:cNvPr>
          <p:cNvSpPr>
            <a:spLocks/>
          </p:cNvSpPr>
          <p:nvPr userDrawn="1"/>
        </p:nvSpPr>
        <p:spPr bwMode="auto">
          <a:xfrm>
            <a:off x="178632" y="2661957"/>
            <a:ext cx="11834341" cy="3985046"/>
          </a:xfrm>
          <a:custGeom>
            <a:avLst/>
            <a:gdLst>
              <a:gd name="T0" fmla="*/ 32870 w 32870"/>
              <a:gd name="T1" fmla="*/ 15500 h 15500"/>
              <a:gd name="T2" fmla="*/ 32870 w 32870"/>
              <a:gd name="T3" fmla="*/ 0 h 15500"/>
              <a:gd name="T4" fmla="*/ 32870 w 32870"/>
              <a:gd name="T5" fmla="*/ 0 h 15500"/>
              <a:gd name="T6" fmla="*/ 32870 w 32870"/>
              <a:gd name="T7" fmla="*/ 4650 h 15500"/>
              <a:gd name="T8" fmla="*/ 19067 w 32870"/>
              <a:gd name="T9" fmla="*/ 4661 h 15500"/>
              <a:gd name="T10" fmla="*/ 0 w 32870"/>
              <a:gd name="T11" fmla="*/ 11678 h 15500"/>
              <a:gd name="T12" fmla="*/ 0 w 32870"/>
              <a:gd name="T13" fmla="*/ 15500 h 15500"/>
              <a:gd name="T14" fmla="*/ 32870 w 32870"/>
              <a:gd name="T15" fmla="*/ 15500 h 15500"/>
              <a:gd name="connsiteX0" fmla="*/ 32870 w 32870"/>
              <a:gd name="connsiteY0" fmla="*/ 15500 h 15500"/>
              <a:gd name="connsiteX1" fmla="*/ 32870 w 32870"/>
              <a:gd name="connsiteY1" fmla="*/ 0 h 15500"/>
              <a:gd name="connsiteX2" fmla="*/ 32870 w 32870"/>
              <a:gd name="connsiteY2" fmla="*/ 4650 h 15500"/>
              <a:gd name="connsiteX3" fmla="*/ 19067 w 32870"/>
              <a:gd name="connsiteY3" fmla="*/ 4661 h 15500"/>
              <a:gd name="connsiteX4" fmla="*/ 0 w 32870"/>
              <a:gd name="connsiteY4" fmla="*/ 11678 h 15500"/>
              <a:gd name="connsiteX5" fmla="*/ 0 w 32870"/>
              <a:gd name="connsiteY5" fmla="*/ 15500 h 15500"/>
              <a:gd name="connsiteX6" fmla="*/ 32870 w 32870"/>
              <a:gd name="connsiteY6" fmla="*/ 15500 h 15500"/>
              <a:gd name="connsiteX0" fmla="*/ 32870 w 32870"/>
              <a:gd name="connsiteY0" fmla="*/ 10850 h 10850"/>
              <a:gd name="connsiteX1" fmla="*/ 32870 w 32870"/>
              <a:gd name="connsiteY1" fmla="*/ 0 h 10850"/>
              <a:gd name="connsiteX2" fmla="*/ 19067 w 32870"/>
              <a:gd name="connsiteY2" fmla="*/ 11 h 10850"/>
              <a:gd name="connsiteX3" fmla="*/ 0 w 32870"/>
              <a:gd name="connsiteY3" fmla="*/ 7028 h 10850"/>
              <a:gd name="connsiteX4" fmla="*/ 0 w 32870"/>
              <a:gd name="connsiteY4" fmla="*/ 10850 h 10850"/>
              <a:gd name="connsiteX5" fmla="*/ 32870 w 32870"/>
              <a:gd name="connsiteY5" fmla="*/ 10850 h 1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70" h="10850">
                <a:moveTo>
                  <a:pt x="32870" y="10850"/>
                </a:moveTo>
                <a:lnTo>
                  <a:pt x="32870" y="0"/>
                </a:lnTo>
                <a:lnTo>
                  <a:pt x="19067" y="11"/>
                </a:lnTo>
                <a:cubicBezTo>
                  <a:pt x="13563" y="3"/>
                  <a:pt x="2671" y="800"/>
                  <a:pt x="0" y="7028"/>
                </a:cubicBezTo>
                <a:lnTo>
                  <a:pt x="0" y="10850"/>
                </a:lnTo>
                <a:lnTo>
                  <a:pt x="32870" y="10850"/>
                </a:ln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1" name="Freeform 19">
            <a:extLst>
              <a:ext uri="{FF2B5EF4-FFF2-40B4-BE49-F238E27FC236}">
                <a16:creationId xmlns:a16="http://schemas.microsoft.com/office/drawing/2014/main" id="{B5B976A8-CE61-4DC9-871A-17A9AC0F84D0}"/>
              </a:ext>
              <a:ext uri="{C183D7F6-B498-43B3-948B-1728B52AA6E4}">
                <adec:decorative xmlns:adec="http://schemas.microsoft.com/office/drawing/2017/decorative" val="1"/>
              </a:ext>
            </a:extLst>
          </p:cNvPr>
          <p:cNvSpPr>
            <a:spLocks/>
          </p:cNvSpPr>
          <p:nvPr userDrawn="1"/>
        </p:nvSpPr>
        <p:spPr bwMode="auto">
          <a:xfrm>
            <a:off x="178632" y="1098364"/>
            <a:ext cx="11834341" cy="4209096"/>
          </a:xfrm>
          <a:custGeom>
            <a:avLst/>
            <a:gdLst>
              <a:gd name="T0" fmla="*/ 0 w 32870"/>
              <a:gd name="T1" fmla="*/ 4740 h 11678"/>
              <a:gd name="T2" fmla="*/ 0 w 32870"/>
              <a:gd name="T3" fmla="*/ 11678 h 11678"/>
              <a:gd name="T4" fmla="*/ 19067 w 32870"/>
              <a:gd name="T5" fmla="*/ 4661 h 11678"/>
              <a:gd name="T6" fmla="*/ 32870 w 32870"/>
              <a:gd name="T7" fmla="*/ 4650 h 11678"/>
              <a:gd name="T8" fmla="*/ 32870 w 32870"/>
              <a:gd name="T9" fmla="*/ 0 h 11678"/>
              <a:gd name="T10" fmla="*/ 18389 w 32870"/>
              <a:gd name="T11" fmla="*/ 20 h 11678"/>
              <a:gd name="T12" fmla="*/ 0 w 32870"/>
              <a:gd name="T13" fmla="*/ 4740 h 11678"/>
            </a:gdLst>
            <a:ahLst/>
            <a:cxnLst>
              <a:cxn ang="0">
                <a:pos x="T0" y="T1"/>
              </a:cxn>
              <a:cxn ang="0">
                <a:pos x="T2" y="T3"/>
              </a:cxn>
              <a:cxn ang="0">
                <a:pos x="T4" y="T5"/>
              </a:cxn>
              <a:cxn ang="0">
                <a:pos x="T6" y="T7"/>
              </a:cxn>
              <a:cxn ang="0">
                <a:pos x="T8" y="T9"/>
              </a:cxn>
              <a:cxn ang="0">
                <a:pos x="T10" y="T11"/>
              </a:cxn>
              <a:cxn ang="0">
                <a:pos x="T12" y="T13"/>
              </a:cxn>
            </a:cxnLst>
            <a:rect l="0" t="0" r="r" b="b"/>
            <a:pathLst>
              <a:path w="32870" h="11678">
                <a:moveTo>
                  <a:pt x="0" y="4740"/>
                </a:moveTo>
                <a:lnTo>
                  <a:pt x="0" y="11678"/>
                </a:lnTo>
                <a:cubicBezTo>
                  <a:pt x="2671" y="5450"/>
                  <a:pt x="13563" y="4653"/>
                  <a:pt x="19067" y="4661"/>
                </a:cubicBezTo>
                <a:cubicBezTo>
                  <a:pt x="20406" y="4663"/>
                  <a:pt x="28166" y="4655"/>
                  <a:pt x="32870" y="4650"/>
                </a:cubicBezTo>
                <a:lnTo>
                  <a:pt x="32870" y="0"/>
                </a:lnTo>
                <a:cubicBezTo>
                  <a:pt x="28197" y="2"/>
                  <a:pt x="20433" y="7"/>
                  <a:pt x="18389" y="20"/>
                </a:cubicBezTo>
                <a:cubicBezTo>
                  <a:pt x="8797" y="82"/>
                  <a:pt x="3102" y="1939"/>
                  <a:pt x="0" y="4740"/>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userDrawn="1">
            <p:ph type="ctrTitle" hasCustomPrompt="1"/>
          </p:nvPr>
        </p:nvSpPr>
        <p:spPr>
          <a:xfrm>
            <a:off x="3012948" y="3387374"/>
            <a:ext cx="8193024" cy="1800000"/>
          </a:xfrm>
        </p:spPr>
        <p:txBody>
          <a:bodyPr anchor="ctr" anchorCtr="0"/>
          <a:lstStyle>
            <a:lvl1pPr algn="r">
              <a:lnSpc>
                <a:spcPct val="95000"/>
              </a:lnSpc>
              <a:defRPr sz="3600">
                <a:solidFill>
                  <a:schemeClr val="bg1"/>
                </a:solidFill>
              </a:defRPr>
            </a:lvl1pPr>
          </a:lstStyle>
          <a:p>
            <a:r>
              <a:rPr lang="fi-FI"/>
              <a:t>Otsikko, Esityksen aloitussivu</a:t>
            </a:r>
            <a:br>
              <a:rPr lang="fi-FI"/>
            </a:br>
            <a:r>
              <a:rPr lang="fi-FI"/>
              <a:t>– </a:t>
            </a:r>
            <a:r>
              <a:rPr lang="fi-FI" err="1"/>
              <a:t>Arial</a:t>
            </a:r>
            <a:r>
              <a:rPr lang="fi-FI"/>
              <a:t> </a:t>
            </a:r>
            <a:r>
              <a:rPr lang="fi-FI" err="1"/>
              <a:t>Bold</a:t>
            </a:r>
            <a:br>
              <a:rPr lang="fi-FI"/>
            </a:br>
            <a:r>
              <a:rPr lang="fi-FI" err="1"/>
              <a:t>max</a:t>
            </a:r>
            <a:r>
              <a:rPr lang="fi-FI"/>
              <a:t>. kolme riviä</a:t>
            </a:r>
          </a:p>
        </p:txBody>
      </p:sp>
      <p:sp>
        <p:nvSpPr>
          <p:cNvPr id="3" name="Alaotsikko 2">
            <a:extLst>
              <a:ext uri="{FF2B5EF4-FFF2-40B4-BE49-F238E27FC236}">
                <a16:creationId xmlns:a16="http://schemas.microsoft.com/office/drawing/2014/main" id="{433C471F-8838-4C25-8EB0-AD6B71B38A69}"/>
              </a:ext>
            </a:extLst>
          </p:cNvPr>
          <p:cNvSpPr>
            <a:spLocks noGrp="1"/>
          </p:cNvSpPr>
          <p:nvPr userDrawn="1">
            <p:ph type="subTitle" idx="1"/>
          </p:nvPr>
        </p:nvSpPr>
        <p:spPr>
          <a:xfrm>
            <a:off x="3012949" y="5597458"/>
            <a:ext cx="6969312" cy="642035"/>
          </a:xfrm>
        </p:spPr>
        <p:txBody>
          <a:bodyPr/>
          <a:lstStyle>
            <a:lvl1pPr marL="0" indent="0" algn="r">
              <a:lnSpc>
                <a:spcPct val="11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
        <p:nvSpPr>
          <p:cNvPr id="7" name="Päivämäärän paikkamerkki 3">
            <a:extLst>
              <a:ext uri="{FF2B5EF4-FFF2-40B4-BE49-F238E27FC236}">
                <a16:creationId xmlns:a16="http://schemas.microsoft.com/office/drawing/2014/main" id="{1985E3F4-62CC-4CEC-8965-E8A66FBC781F}"/>
              </a:ext>
            </a:extLst>
          </p:cNvPr>
          <p:cNvSpPr>
            <a:spLocks noGrp="1"/>
          </p:cNvSpPr>
          <p:nvPr>
            <p:ph type="dt" sz="half" idx="10"/>
          </p:nvPr>
        </p:nvSpPr>
        <p:spPr>
          <a:xfrm>
            <a:off x="9982260" y="5597458"/>
            <a:ext cx="1242000" cy="642035"/>
          </a:xfrm>
        </p:spPr>
        <p:txBody>
          <a:bodyPr vert="horz" lIns="0" tIns="0" rIns="0" bIns="0" rtlCol="0" anchor="t" anchorCtr="0">
            <a:noAutofit/>
          </a:bodyPr>
          <a:lstStyle>
            <a:lvl1pPr>
              <a:defRPr lang="fi-FI" sz="1600" smtClean="0">
                <a:solidFill>
                  <a:schemeClr val="bg1"/>
                </a:solidFill>
              </a:defRPr>
            </a:lvl1pPr>
          </a:lstStyle>
          <a:p>
            <a:pPr algn="r">
              <a:lnSpc>
                <a:spcPct val="110000"/>
              </a:lnSpc>
              <a:buClr>
                <a:schemeClr val="tx2"/>
              </a:buClr>
            </a:pPr>
            <a:r>
              <a:rPr lang="fi-FI"/>
              <a:t>|  26.4.2022</a:t>
            </a:r>
            <a:endParaRPr lang="fi-FI" sz="1600">
              <a:solidFill>
                <a:schemeClr val="bg1"/>
              </a:solidFill>
            </a:endParaRPr>
          </a:p>
        </p:txBody>
      </p:sp>
      <p:sp>
        <p:nvSpPr>
          <p:cNvPr id="8" name="Alatunnisteen paikkamerkki 4">
            <a:extLst>
              <a:ext uri="{FF2B5EF4-FFF2-40B4-BE49-F238E27FC236}">
                <a16:creationId xmlns:a16="http://schemas.microsoft.com/office/drawing/2014/main" id="{253E613E-3102-404E-9128-95F7165B5716}"/>
              </a:ext>
            </a:extLst>
          </p:cNvPr>
          <p:cNvSpPr>
            <a:spLocks noGrp="1"/>
          </p:cNvSpPr>
          <p:nvPr>
            <p:ph type="ftr" sz="quarter" idx="11"/>
          </p:nvPr>
        </p:nvSpPr>
        <p:spPr>
          <a:xfrm>
            <a:off x="7109460" y="5307460"/>
            <a:ext cx="4114800" cy="241091"/>
          </a:xfrm>
        </p:spPr>
        <p:txBody>
          <a:bodyPr vert="horz" lIns="0" tIns="0" rIns="0" bIns="0" rtlCol="0" anchor="t" anchorCtr="0">
            <a:noAutofit/>
          </a:bodyPr>
          <a:lstStyle>
            <a:lvl1pPr algn="r">
              <a:defRPr lang="fi-FI" sz="1600" dirty="0" smtClean="0">
                <a:solidFill>
                  <a:schemeClr val="bg1"/>
                </a:solidFill>
              </a:defRPr>
            </a:lvl1pPr>
          </a:lstStyle>
          <a:p>
            <a:pPr>
              <a:lnSpc>
                <a:spcPct val="110000"/>
              </a:lnSpc>
              <a:buClr>
                <a:schemeClr val="tx2"/>
              </a:buClr>
            </a:pPr>
            <a:r>
              <a:rPr lang="fi-FI"/>
              <a:t>Päivi Hautaniemi</a:t>
            </a:r>
            <a:endParaRPr lang="fi-FI" sz="1600">
              <a:solidFill>
                <a:schemeClr val="bg1"/>
              </a:solidFill>
            </a:endParaRPr>
          </a:p>
        </p:txBody>
      </p:sp>
    </p:spTree>
    <p:extLst>
      <p:ext uri="{BB962C8B-B14F-4D97-AF65-F5344CB8AC3E}">
        <p14:creationId xmlns:p14="http://schemas.microsoft.com/office/powerpoint/2010/main" val="861609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matchingName="Otsikkodia 5" preserve="1" userDrawn="1">
  <p:cSld name="Otsikkodia 5">
    <p:spTree>
      <p:nvGrpSpPr>
        <p:cNvPr id="1" name=""/>
        <p:cNvGrpSpPr/>
        <p:nvPr/>
      </p:nvGrpSpPr>
      <p:grpSpPr>
        <a:xfrm>
          <a:off x="0" y="0"/>
          <a:ext cx="0" cy="0"/>
          <a:chOff x="0" y="0"/>
          <a:chExt cx="0" cy="0"/>
        </a:xfrm>
      </p:grpSpPr>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
        <p:nvSpPr>
          <p:cNvPr id="7" name="Freeform 24">
            <a:extLst>
              <a:ext uri="{FF2B5EF4-FFF2-40B4-BE49-F238E27FC236}">
                <a16:creationId xmlns:a16="http://schemas.microsoft.com/office/drawing/2014/main" id="{1A042BF1-EF78-493D-A6DE-B399BD8FC74E}"/>
              </a:ext>
              <a:ext uri="{C183D7F6-B498-43B3-948B-1728B52AA6E4}">
                <adec:decorative xmlns:adec="http://schemas.microsoft.com/office/drawing/2017/decorative" val="1"/>
              </a:ext>
            </a:extLst>
          </p:cNvPr>
          <p:cNvSpPr>
            <a:spLocks/>
          </p:cNvSpPr>
          <p:nvPr userDrawn="1"/>
        </p:nvSpPr>
        <p:spPr bwMode="auto">
          <a:xfrm>
            <a:off x="178632" y="180000"/>
            <a:ext cx="8284039" cy="6515254"/>
          </a:xfrm>
          <a:custGeom>
            <a:avLst/>
            <a:gdLst>
              <a:gd name="T0" fmla="*/ 23006 w 23006"/>
              <a:gd name="T1" fmla="*/ 0 h 18070"/>
              <a:gd name="T2" fmla="*/ 11591 w 23006"/>
              <a:gd name="T3" fmla="*/ 0 h 18070"/>
              <a:gd name="T4" fmla="*/ 0 w 23006"/>
              <a:gd name="T5" fmla="*/ 4209 h 18070"/>
              <a:gd name="T6" fmla="*/ 0 w 23006"/>
              <a:gd name="T7" fmla="*/ 18070 h 18070"/>
              <a:gd name="T8" fmla="*/ 18262 w 23006"/>
              <a:gd name="T9" fmla="*/ 18070 h 18070"/>
              <a:gd name="T10" fmla="*/ 18262 w 23006"/>
              <a:gd name="T11" fmla="*/ 17566 h 18070"/>
              <a:gd name="T12" fmla="*/ 23006 w 23006"/>
              <a:gd name="T13" fmla="*/ 0 h 18070"/>
              <a:gd name="connsiteX0" fmla="*/ 23006 w 23006"/>
              <a:gd name="connsiteY0" fmla="*/ 0 h 18070"/>
              <a:gd name="connsiteX1" fmla="*/ 11591 w 23006"/>
              <a:gd name="connsiteY1" fmla="*/ 0 h 18070"/>
              <a:gd name="connsiteX2" fmla="*/ 0 w 23006"/>
              <a:gd name="connsiteY2" fmla="*/ 4209 h 18070"/>
              <a:gd name="connsiteX3" fmla="*/ 0 w 23006"/>
              <a:gd name="connsiteY3" fmla="*/ 18070 h 18070"/>
              <a:gd name="connsiteX4" fmla="*/ 18262 w 23006"/>
              <a:gd name="connsiteY4" fmla="*/ 18070 h 18070"/>
              <a:gd name="connsiteX5" fmla="*/ 18295 w 23006"/>
              <a:gd name="connsiteY5" fmla="*/ 17555 h 18070"/>
              <a:gd name="connsiteX6" fmla="*/ 23006 w 23006"/>
              <a:gd name="connsiteY6" fmla="*/ 0 h 18070"/>
              <a:gd name="connsiteX0" fmla="*/ 23006 w 23120"/>
              <a:gd name="connsiteY0" fmla="*/ 0 h 18070"/>
              <a:gd name="connsiteX1" fmla="*/ 11591 w 23120"/>
              <a:gd name="connsiteY1" fmla="*/ 0 h 18070"/>
              <a:gd name="connsiteX2" fmla="*/ 0 w 23120"/>
              <a:gd name="connsiteY2" fmla="*/ 4209 h 18070"/>
              <a:gd name="connsiteX3" fmla="*/ 0 w 23120"/>
              <a:gd name="connsiteY3" fmla="*/ 18070 h 18070"/>
              <a:gd name="connsiteX4" fmla="*/ 18262 w 23120"/>
              <a:gd name="connsiteY4" fmla="*/ 18070 h 18070"/>
              <a:gd name="connsiteX5" fmla="*/ 23120 w 23120"/>
              <a:gd name="connsiteY5" fmla="*/ 7420 h 18070"/>
              <a:gd name="connsiteX6" fmla="*/ 23006 w 23120"/>
              <a:gd name="connsiteY6" fmla="*/ 0 h 18070"/>
              <a:gd name="connsiteX0" fmla="*/ 23006 w 23309"/>
              <a:gd name="connsiteY0" fmla="*/ 0 h 18070"/>
              <a:gd name="connsiteX1" fmla="*/ 11591 w 23309"/>
              <a:gd name="connsiteY1" fmla="*/ 0 h 18070"/>
              <a:gd name="connsiteX2" fmla="*/ 0 w 23309"/>
              <a:gd name="connsiteY2" fmla="*/ 4209 h 18070"/>
              <a:gd name="connsiteX3" fmla="*/ 0 w 23309"/>
              <a:gd name="connsiteY3" fmla="*/ 18070 h 18070"/>
              <a:gd name="connsiteX4" fmla="*/ 18262 w 23309"/>
              <a:gd name="connsiteY4" fmla="*/ 18070 h 18070"/>
              <a:gd name="connsiteX5" fmla="*/ 23006 w 23309"/>
              <a:gd name="connsiteY5" fmla="*/ 0 h 18070"/>
              <a:gd name="connsiteX0" fmla="*/ 23006 w 23146"/>
              <a:gd name="connsiteY0" fmla="*/ 0 h 18070"/>
              <a:gd name="connsiteX1" fmla="*/ 11591 w 23146"/>
              <a:gd name="connsiteY1" fmla="*/ 0 h 18070"/>
              <a:gd name="connsiteX2" fmla="*/ 0 w 23146"/>
              <a:gd name="connsiteY2" fmla="*/ 4209 h 18070"/>
              <a:gd name="connsiteX3" fmla="*/ 0 w 23146"/>
              <a:gd name="connsiteY3" fmla="*/ 18070 h 18070"/>
              <a:gd name="connsiteX4" fmla="*/ 18262 w 23146"/>
              <a:gd name="connsiteY4" fmla="*/ 18070 h 18070"/>
              <a:gd name="connsiteX5" fmla="*/ 23006 w 23146"/>
              <a:gd name="connsiteY5" fmla="*/ 0 h 18070"/>
              <a:gd name="connsiteX0" fmla="*/ 23006 w 23006"/>
              <a:gd name="connsiteY0" fmla="*/ 0 h 18070"/>
              <a:gd name="connsiteX1" fmla="*/ 11591 w 23006"/>
              <a:gd name="connsiteY1" fmla="*/ 0 h 18070"/>
              <a:gd name="connsiteX2" fmla="*/ 0 w 23006"/>
              <a:gd name="connsiteY2" fmla="*/ 4209 h 18070"/>
              <a:gd name="connsiteX3" fmla="*/ 0 w 23006"/>
              <a:gd name="connsiteY3" fmla="*/ 18070 h 18070"/>
              <a:gd name="connsiteX4" fmla="*/ 18262 w 23006"/>
              <a:gd name="connsiteY4" fmla="*/ 18070 h 18070"/>
              <a:gd name="connsiteX5" fmla="*/ 23006 w 23006"/>
              <a:gd name="connsiteY5" fmla="*/ 0 h 1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06" h="18070">
                <a:moveTo>
                  <a:pt x="23006" y="0"/>
                </a:moveTo>
                <a:lnTo>
                  <a:pt x="11591" y="0"/>
                </a:lnTo>
                <a:cubicBezTo>
                  <a:pt x="10879" y="2578"/>
                  <a:pt x="7831" y="4511"/>
                  <a:pt x="0" y="4209"/>
                </a:cubicBezTo>
                <a:lnTo>
                  <a:pt x="0" y="18070"/>
                </a:lnTo>
                <a:lnTo>
                  <a:pt x="18262" y="18070"/>
                </a:lnTo>
                <a:cubicBezTo>
                  <a:pt x="18287" y="18090"/>
                  <a:pt x="22931" y="62"/>
                  <a:pt x="23006" y="0"/>
                </a:cubicBez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1229868" y="2825496"/>
            <a:ext cx="5143500" cy="2391156"/>
          </a:xfrm>
        </p:spPr>
        <p:txBody>
          <a:bodyPr anchor="ctr" anchorCtr="0"/>
          <a:lstStyle>
            <a:lvl1pPr algn="l">
              <a:lnSpc>
                <a:spcPct val="95000"/>
              </a:lnSpc>
              <a:defRPr sz="3600">
                <a:solidFill>
                  <a:schemeClr val="bg1"/>
                </a:solidFill>
              </a:defRPr>
            </a:lvl1pPr>
          </a:lstStyle>
          <a:p>
            <a:r>
              <a:rPr lang="fi-FI"/>
              <a:t>Otsikko, Esityksen aloitussivu </a:t>
            </a:r>
            <a:br>
              <a:rPr lang="fi-FI"/>
            </a:br>
            <a:r>
              <a:rPr lang="fi-FI"/>
              <a:t>– </a:t>
            </a:r>
            <a:r>
              <a:rPr lang="fi-FI" err="1"/>
              <a:t>Arial</a:t>
            </a:r>
            <a:r>
              <a:rPr lang="fi-FI"/>
              <a:t> </a:t>
            </a:r>
            <a:r>
              <a:rPr lang="fi-FI" err="1"/>
              <a:t>Bold</a:t>
            </a:r>
            <a:br>
              <a:rPr lang="fi-FI"/>
            </a:br>
            <a:r>
              <a:rPr lang="fi-FI" err="1"/>
              <a:t>max</a:t>
            </a:r>
            <a:r>
              <a:rPr lang="fi-FI"/>
              <a:t>. kolme riviä</a:t>
            </a:r>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p:nvPr>
        </p:nvSpPr>
        <p:spPr>
          <a:xfrm>
            <a:off x="2482074" y="5703145"/>
            <a:ext cx="4195818" cy="642035"/>
          </a:xfrm>
        </p:spPr>
        <p:txBody>
          <a:bodyPr anchor="t" anchorCtr="0"/>
          <a:lstStyle>
            <a:lvl1pPr marL="0" indent="0" algn="l">
              <a:lnSpc>
                <a:spcPct val="11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sp>
        <p:nvSpPr>
          <p:cNvPr id="13" name="Kuvan paikkamerkki 2">
            <a:extLst>
              <a:ext uri="{FF2B5EF4-FFF2-40B4-BE49-F238E27FC236}">
                <a16:creationId xmlns:a16="http://schemas.microsoft.com/office/drawing/2014/main" id="{BFBF6B36-2C5D-4C96-B600-824137F550F2}"/>
              </a:ext>
              <a:ext uri="{C183D7F6-B498-43B3-948B-1728B52AA6E4}">
                <adec:decorative xmlns:adec="http://schemas.microsoft.com/office/drawing/2017/decorative" val="1"/>
              </a:ext>
            </a:extLst>
          </p:cNvPr>
          <p:cNvSpPr>
            <a:spLocks noGrp="1"/>
          </p:cNvSpPr>
          <p:nvPr>
            <p:ph type="pic" idx="13" hasCustomPrompt="1"/>
          </p:nvPr>
        </p:nvSpPr>
        <p:spPr>
          <a:xfrm>
            <a:off x="6747818" y="180000"/>
            <a:ext cx="5266800" cy="6516000"/>
          </a:xfrm>
          <a:custGeom>
            <a:avLst/>
            <a:gdLst>
              <a:gd name="connsiteX0" fmla="*/ 0 w 11834341"/>
              <a:gd name="connsiteY0" fmla="*/ 0 h 2987423"/>
              <a:gd name="connsiteX1" fmla="*/ 11834341 w 11834341"/>
              <a:gd name="connsiteY1" fmla="*/ 0 h 2987423"/>
              <a:gd name="connsiteX2" fmla="*/ 11834341 w 11834341"/>
              <a:gd name="connsiteY2" fmla="*/ 2987423 h 2987423"/>
              <a:gd name="connsiteX3" fmla="*/ 0 w 11834341"/>
              <a:gd name="connsiteY3" fmla="*/ 2987423 h 2987423"/>
              <a:gd name="connsiteX4" fmla="*/ 0 w 11834341"/>
              <a:gd name="connsiteY4" fmla="*/ 0 h 2987423"/>
              <a:gd name="connsiteX0" fmla="*/ 9467 w 11843808"/>
              <a:gd name="connsiteY0" fmla="*/ 0 h 2987423"/>
              <a:gd name="connsiteX1" fmla="*/ 11843808 w 11843808"/>
              <a:gd name="connsiteY1" fmla="*/ 0 h 2987423"/>
              <a:gd name="connsiteX2" fmla="*/ 11843808 w 11843808"/>
              <a:gd name="connsiteY2" fmla="*/ 2987423 h 2987423"/>
              <a:gd name="connsiteX3" fmla="*/ 9467 w 11843808"/>
              <a:gd name="connsiteY3" fmla="*/ 2987423 h 2987423"/>
              <a:gd name="connsiteX4" fmla="*/ 0 w 11843808"/>
              <a:gd name="connsiteY4" fmla="*/ 1159280 h 2987423"/>
              <a:gd name="connsiteX5" fmla="*/ 9467 w 11843808"/>
              <a:gd name="connsiteY5" fmla="*/ 0 h 2987423"/>
              <a:gd name="connsiteX0" fmla="*/ 9467 w 11843808"/>
              <a:gd name="connsiteY0" fmla="*/ 2008 h 2989431"/>
              <a:gd name="connsiteX1" fmla="*/ 5925312 w 11843808"/>
              <a:gd name="connsiteY1" fmla="*/ 0 h 2989431"/>
              <a:gd name="connsiteX2" fmla="*/ 11843808 w 11843808"/>
              <a:gd name="connsiteY2" fmla="*/ 2008 h 2989431"/>
              <a:gd name="connsiteX3" fmla="*/ 11843808 w 11843808"/>
              <a:gd name="connsiteY3" fmla="*/ 2989431 h 2989431"/>
              <a:gd name="connsiteX4" fmla="*/ 9467 w 11843808"/>
              <a:gd name="connsiteY4" fmla="*/ 2989431 h 2989431"/>
              <a:gd name="connsiteX5" fmla="*/ 0 w 11843808"/>
              <a:gd name="connsiteY5" fmla="*/ 1161288 h 2989431"/>
              <a:gd name="connsiteX6" fmla="*/ 9467 w 11843808"/>
              <a:gd name="connsiteY6" fmla="*/ 2008 h 2989431"/>
              <a:gd name="connsiteX0" fmla="*/ 650 w 11834991"/>
              <a:gd name="connsiteY0" fmla="*/ 2008 h 2989431"/>
              <a:gd name="connsiteX1" fmla="*/ 5916495 w 11834991"/>
              <a:gd name="connsiteY1" fmla="*/ 0 h 2989431"/>
              <a:gd name="connsiteX2" fmla="*/ 11834991 w 11834991"/>
              <a:gd name="connsiteY2" fmla="*/ 2008 h 2989431"/>
              <a:gd name="connsiteX3" fmla="*/ 11834991 w 11834991"/>
              <a:gd name="connsiteY3" fmla="*/ 2989431 h 2989431"/>
              <a:gd name="connsiteX4" fmla="*/ 650 w 11834991"/>
              <a:gd name="connsiteY4" fmla="*/ 2989431 h 2989431"/>
              <a:gd name="connsiteX5" fmla="*/ 3883 w 11834991"/>
              <a:gd name="connsiteY5" fmla="*/ 1164463 h 2989431"/>
              <a:gd name="connsiteX6" fmla="*/ 650 w 11834991"/>
              <a:gd name="connsiteY6" fmla="*/ 2008 h 2989431"/>
              <a:gd name="connsiteX0" fmla="*/ 3883 w 11834991"/>
              <a:gd name="connsiteY0" fmla="*/ 1164463 h 2989431"/>
              <a:gd name="connsiteX1" fmla="*/ 5916495 w 11834991"/>
              <a:gd name="connsiteY1" fmla="*/ 0 h 2989431"/>
              <a:gd name="connsiteX2" fmla="*/ 11834991 w 11834991"/>
              <a:gd name="connsiteY2" fmla="*/ 2008 h 2989431"/>
              <a:gd name="connsiteX3" fmla="*/ 11834991 w 11834991"/>
              <a:gd name="connsiteY3" fmla="*/ 2989431 h 2989431"/>
              <a:gd name="connsiteX4" fmla="*/ 650 w 11834991"/>
              <a:gd name="connsiteY4" fmla="*/ 2989431 h 2989431"/>
              <a:gd name="connsiteX5" fmla="*/ 3883 w 11834991"/>
              <a:gd name="connsiteY5" fmla="*/ 1164463 h 2989431"/>
              <a:gd name="connsiteX0" fmla="*/ 3883 w 11834991"/>
              <a:gd name="connsiteY0" fmla="*/ 1164463 h 2989431"/>
              <a:gd name="connsiteX1" fmla="*/ 5916495 w 11834991"/>
              <a:gd name="connsiteY1" fmla="*/ 0 h 2989431"/>
              <a:gd name="connsiteX2" fmla="*/ 11834991 w 11834991"/>
              <a:gd name="connsiteY2" fmla="*/ 2008 h 2989431"/>
              <a:gd name="connsiteX3" fmla="*/ 11834991 w 11834991"/>
              <a:gd name="connsiteY3" fmla="*/ 2989431 h 2989431"/>
              <a:gd name="connsiteX4" fmla="*/ 650 w 11834991"/>
              <a:gd name="connsiteY4" fmla="*/ 2989431 h 2989431"/>
              <a:gd name="connsiteX5" fmla="*/ 3883 w 11834991"/>
              <a:gd name="connsiteY5" fmla="*/ 1164463 h 2989431"/>
              <a:gd name="connsiteX0" fmla="*/ 3883 w 11834991"/>
              <a:gd name="connsiteY0" fmla="*/ 1164732 h 2989700"/>
              <a:gd name="connsiteX1" fmla="*/ 5916495 w 11834991"/>
              <a:gd name="connsiteY1" fmla="*/ 269 h 2989700"/>
              <a:gd name="connsiteX2" fmla="*/ 11834991 w 11834991"/>
              <a:gd name="connsiteY2" fmla="*/ 2277 h 2989700"/>
              <a:gd name="connsiteX3" fmla="*/ 11834991 w 11834991"/>
              <a:gd name="connsiteY3" fmla="*/ 2989700 h 2989700"/>
              <a:gd name="connsiteX4" fmla="*/ 650 w 11834991"/>
              <a:gd name="connsiteY4" fmla="*/ 2989700 h 2989700"/>
              <a:gd name="connsiteX5" fmla="*/ 3883 w 11834991"/>
              <a:gd name="connsiteY5" fmla="*/ 1164732 h 2989700"/>
              <a:gd name="connsiteX0" fmla="*/ 3883 w 11834991"/>
              <a:gd name="connsiteY0" fmla="*/ 1164463 h 2989431"/>
              <a:gd name="connsiteX1" fmla="*/ 1805336 w 11834991"/>
              <a:gd name="connsiteY1" fmla="*/ 525357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4463 h 2989431"/>
              <a:gd name="connsiteX1" fmla="*/ 1758770 w 11834991"/>
              <a:gd name="connsiteY1" fmla="*/ 451274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4463 h 2989431"/>
              <a:gd name="connsiteX1" fmla="*/ 1758770 w 11834991"/>
              <a:gd name="connsiteY1" fmla="*/ 451274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4463 h 2989431"/>
              <a:gd name="connsiteX1" fmla="*/ 1758770 w 11834991"/>
              <a:gd name="connsiteY1" fmla="*/ 451274 h 2989431"/>
              <a:gd name="connsiteX2" fmla="*/ 5916495 w 11834991"/>
              <a:gd name="connsiteY2" fmla="*/ 0 h 2989431"/>
              <a:gd name="connsiteX3" fmla="*/ 11834991 w 11834991"/>
              <a:gd name="connsiteY3" fmla="*/ 2008 h 2989431"/>
              <a:gd name="connsiteX4" fmla="*/ 11834991 w 11834991"/>
              <a:gd name="connsiteY4" fmla="*/ 2989431 h 2989431"/>
              <a:gd name="connsiteX5" fmla="*/ 650 w 11834991"/>
              <a:gd name="connsiteY5" fmla="*/ 2989431 h 2989431"/>
              <a:gd name="connsiteX6" fmla="*/ 3883 w 11834991"/>
              <a:gd name="connsiteY6" fmla="*/ 1164463 h 2989431"/>
              <a:gd name="connsiteX0" fmla="*/ 3883 w 11834991"/>
              <a:gd name="connsiteY0" fmla="*/ 1166530 h 2991498"/>
              <a:gd name="connsiteX1" fmla="*/ 1758770 w 11834991"/>
              <a:gd name="connsiteY1" fmla="*/ 453341 h 2991498"/>
              <a:gd name="connsiteX2" fmla="*/ 5916495 w 11834991"/>
              <a:gd name="connsiteY2" fmla="*/ 2067 h 2991498"/>
              <a:gd name="connsiteX3" fmla="*/ 11834991 w 11834991"/>
              <a:gd name="connsiteY3" fmla="*/ 4075 h 2991498"/>
              <a:gd name="connsiteX4" fmla="*/ 11834991 w 11834991"/>
              <a:gd name="connsiteY4" fmla="*/ 2991498 h 2991498"/>
              <a:gd name="connsiteX5" fmla="*/ 650 w 11834991"/>
              <a:gd name="connsiteY5" fmla="*/ 2991498 h 2991498"/>
              <a:gd name="connsiteX6" fmla="*/ 3883 w 11834991"/>
              <a:gd name="connsiteY6" fmla="*/ 1166530 h 2991498"/>
              <a:gd name="connsiteX0" fmla="*/ 3883 w 11834991"/>
              <a:gd name="connsiteY0" fmla="*/ 1164834 h 2989802"/>
              <a:gd name="connsiteX1" fmla="*/ 1758770 w 11834991"/>
              <a:gd name="connsiteY1" fmla="*/ 451645 h 2989802"/>
              <a:gd name="connsiteX2" fmla="*/ 5916495 w 11834991"/>
              <a:gd name="connsiteY2" fmla="*/ 371 h 2989802"/>
              <a:gd name="connsiteX3" fmla="*/ 11834991 w 11834991"/>
              <a:gd name="connsiteY3" fmla="*/ 2379 h 2989802"/>
              <a:gd name="connsiteX4" fmla="*/ 11834991 w 11834991"/>
              <a:gd name="connsiteY4" fmla="*/ 2989802 h 2989802"/>
              <a:gd name="connsiteX5" fmla="*/ 650 w 11834991"/>
              <a:gd name="connsiteY5" fmla="*/ 2989802 h 2989802"/>
              <a:gd name="connsiteX6" fmla="*/ 3883 w 11834991"/>
              <a:gd name="connsiteY6" fmla="*/ 1164834 h 2989802"/>
              <a:gd name="connsiteX0" fmla="*/ 3883 w 11834991"/>
              <a:gd name="connsiteY0" fmla="*/ 1164834 h 2989802"/>
              <a:gd name="connsiteX1" fmla="*/ 1758770 w 11834991"/>
              <a:gd name="connsiteY1" fmla="*/ 451645 h 2989802"/>
              <a:gd name="connsiteX2" fmla="*/ 5916495 w 11834991"/>
              <a:gd name="connsiteY2" fmla="*/ 371 h 2989802"/>
              <a:gd name="connsiteX3" fmla="*/ 11834991 w 11834991"/>
              <a:gd name="connsiteY3" fmla="*/ 2379 h 2989802"/>
              <a:gd name="connsiteX4" fmla="*/ 11834991 w 11834991"/>
              <a:gd name="connsiteY4" fmla="*/ 2989802 h 2989802"/>
              <a:gd name="connsiteX5" fmla="*/ 650 w 11834991"/>
              <a:gd name="connsiteY5" fmla="*/ 2989802 h 2989802"/>
              <a:gd name="connsiteX6" fmla="*/ 3883 w 11834991"/>
              <a:gd name="connsiteY6" fmla="*/ 1164834 h 2989802"/>
              <a:gd name="connsiteX0" fmla="*/ 3883 w 11834991"/>
              <a:gd name="connsiteY0" fmla="*/ 1164775 h 2989743"/>
              <a:gd name="connsiteX1" fmla="*/ 1758770 w 11834991"/>
              <a:gd name="connsiteY1" fmla="*/ 451586 h 2989743"/>
              <a:gd name="connsiteX2" fmla="*/ 5916495 w 11834991"/>
              <a:gd name="connsiteY2" fmla="*/ 312 h 2989743"/>
              <a:gd name="connsiteX3" fmla="*/ 11834991 w 11834991"/>
              <a:gd name="connsiteY3" fmla="*/ 2320 h 2989743"/>
              <a:gd name="connsiteX4" fmla="*/ 11834991 w 11834991"/>
              <a:gd name="connsiteY4" fmla="*/ 2989743 h 2989743"/>
              <a:gd name="connsiteX5" fmla="*/ 650 w 11834991"/>
              <a:gd name="connsiteY5" fmla="*/ 2989743 h 2989743"/>
              <a:gd name="connsiteX6" fmla="*/ 3883 w 11834991"/>
              <a:gd name="connsiteY6" fmla="*/ 1164775 h 2989743"/>
              <a:gd name="connsiteX0" fmla="*/ 3883 w 11834991"/>
              <a:gd name="connsiteY0" fmla="*/ 1164880 h 2989848"/>
              <a:gd name="connsiteX1" fmla="*/ 1932336 w 11834991"/>
              <a:gd name="connsiteY1" fmla="*/ 411474 h 2989848"/>
              <a:gd name="connsiteX2" fmla="*/ 5916495 w 11834991"/>
              <a:gd name="connsiteY2" fmla="*/ 417 h 2989848"/>
              <a:gd name="connsiteX3" fmla="*/ 11834991 w 11834991"/>
              <a:gd name="connsiteY3" fmla="*/ 2425 h 2989848"/>
              <a:gd name="connsiteX4" fmla="*/ 11834991 w 11834991"/>
              <a:gd name="connsiteY4" fmla="*/ 2989848 h 2989848"/>
              <a:gd name="connsiteX5" fmla="*/ 650 w 11834991"/>
              <a:gd name="connsiteY5" fmla="*/ 2989848 h 2989848"/>
              <a:gd name="connsiteX6" fmla="*/ 3883 w 11834991"/>
              <a:gd name="connsiteY6" fmla="*/ 1164880 h 2989848"/>
              <a:gd name="connsiteX0" fmla="*/ 3883 w 11834991"/>
              <a:gd name="connsiteY0" fmla="*/ 1164867 h 2989835"/>
              <a:gd name="connsiteX1" fmla="*/ 1932336 w 11834991"/>
              <a:gd name="connsiteY1" fmla="*/ 411461 h 2989835"/>
              <a:gd name="connsiteX2" fmla="*/ 5916495 w 11834991"/>
              <a:gd name="connsiteY2" fmla="*/ 404 h 2989835"/>
              <a:gd name="connsiteX3" fmla="*/ 11834991 w 11834991"/>
              <a:gd name="connsiteY3" fmla="*/ 2412 h 2989835"/>
              <a:gd name="connsiteX4" fmla="*/ 11834991 w 11834991"/>
              <a:gd name="connsiteY4" fmla="*/ 2989835 h 2989835"/>
              <a:gd name="connsiteX5" fmla="*/ 650 w 11834991"/>
              <a:gd name="connsiteY5" fmla="*/ 2989835 h 2989835"/>
              <a:gd name="connsiteX6" fmla="*/ 3883 w 11834991"/>
              <a:gd name="connsiteY6" fmla="*/ 1164867 h 2989835"/>
              <a:gd name="connsiteX0" fmla="*/ 3883 w 11834991"/>
              <a:gd name="connsiteY0" fmla="*/ 1164888 h 2989856"/>
              <a:gd name="connsiteX1" fmla="*/ 1921753 w 11834991"/>
              <a:gd name="connsiteY1" fmla="*/ 405132 h 2989856"/>
              <a:gd name="connsiteX2" fmla="*/ 5916495 w 11834991"/>
              <a:gd name="connsiteY2" fmla="*/ 425 h 2989856"/>
              <a:gd name="connsiteX3" fmla="*/ 11834991 w 11834991"/>
              <a:gd name="connsiteY3" fmla="*/ 2433 h 2989856"/>
              <a:gd name="connsiteX4" fmla="*/ 11834991 w 11834991"/>
              <a:gd name="connsiteY4" fmla="*/ 2989856 h 2989856"/>
              <a:gd name="connsiteX5" fmla="*/ 650 w 11834991"/>
              <a:gd name="connsiteY5" fmla="*/ 2989856 h 2989856"/>
              <a:gd name="connsiteX6" fmla="*/ 3883 w 11834991"/>
              <a:gd name="connsiteY6" fmla="*/ 1164888 h 2989856"/>
              <a:gd name="connsiteX0" fmla="*/ 43 w 11835384"/>
              <a:gd name="connsiteY0" fmla="*/ 893516 h 2989610"/>
              <a:gd name="connsiteX1" fmla="*/ 1922146 w 11835384"/>
              <a:gd name="connsiteY1" fmla="*/ 404886 h 2989610"/>
              <a:gd name="connsiteX2" fmla="*/ 5916888 w 11835384"/>
              <a:gd name="connsiteY2" fmla="*/ 179 h 2989610"/>
              <a:gd name="connsiteX3" fmla="*/ 11835384 w 11835384"/>
              <a:gd name="connsiteY3" fmla="*/ 2187 h 2989610"/>
              <a:gd name="connsiteX4" fmla="*/ 11835384 w 11835384"/>
              <a:gd name="connsiteY4" fmla="*/ 2989610 h 2989610"/>
              <a:gd name="connsiteX5" fmla="*/ 1043 w 11835384"/>
              <a:gd name="connsiteY5" fmla="*/ 2989610 h 2989610"/>
              <a:gd name="connsiteX6" fmla="*/ 43 w 11835384"/>
              <a:gd name="connsiteY6" fmla="*/ 893516 h 2989610"/>
              <a:gd name="connsiteX0" fmla="*/ 0 w 11835341"/>
              <a:gd name="connsiteY0" fmla="*/ 893516 h 2989610"/>
              <a:gd name="connsiteX1" fmla="*/ 1922103 w 11835341"/>
              <a:gd name="connsiteY1" fmla="*/ 404886 h 2989610"/>
              <a:gd name="connsiteX2" fmla="*/ 5916845 w 11835341"/>
              <a:gd name="connsiteY2" fmla="*/ 179 h 2989610"/>
              <a:gd name="connsiteX3" fmla="*/ 11835341 w 11835341"/>
              <a:gd name="connsiteY3" fmla="*/ 2187 h 2989610"/>
              <a:gd name="connsiteX4" fmla="*/ 11835341 w 11835341"/>
              <a:gd name="connsiteY4" fmla="*/ 2989610 h 2989610"/>
              <a:gd name="connsiteX5" fmla="*/ 1000 w 11835341"/>
              <a:gd name="connsiteY5" fmla="*/ 2989610 h 2989610"/>
              <a:gd name="connsiteX6" fmla="*/ 0 w 11835341"/>
              <a:gd name="connsiteY6" fmla="*/ 893516 h 2989610"/>
              <a:gd name="connsiteX0" fmla="*/ 0 w 11835341"/>
              <a:gd name="connsiteY0" fmla="*/ 893720 h 2989814"/>
              <a:gd name="connsiteX1" fmla="*/ 2025820 w 11835341"/>
              <a:gd name="connsiteY1" fmla="*/ 260013 h 2989814"/>
              <a:gd name="connsiteX2" fmla="*/ 5916845 w 11835341"/>
              <a:gd name="connsiteY2" fmla="*/ 383 h 2989814"/>
              <a:gd name="connsiteX3" fmla="*/ 11835341 w 11835341"/>
              <a:gd name="connsiteY3" fmla="*/ 2391 h 2989814"/>
              <a:gd name="connsiteX4" fmla="*/ 11835341 w 11835341"/>
              <a:gd name="connsiteY4" fmla="*/ 2989814 h 2989814"/>
              <a:gd name="connsiteX5" fmla="*/ 1000 w 11835341"/>
              <a:gd name="connsiteY5" fmla="*/ 2989814 h 2989814"/>
              <a:gd name="connsiteX6" fmla="*/ 0 w 11835341"/>
              <a:gd name="connsiteY6" fmla="*/ 893720 h 2989814"/>
              <a:gd name="connsiteX0" fmla="*/ 0 w 11835341"/>
              <a:gd name="connsiteY0" fmla="*/ 897278 h 2993372"/>
              <a:gd name="connsiteX1" fmla="*/ 2025820 w 11835341"/>
              <a:gd name="connsiteY1" fmla="*/ 263571 h 2993372"/>
              <a:gd name="connsiteX2" fmla="*/ 5916845 w 11835341"/>
              <a:gd name="connsiteY2" fmla="*/ 3941 h 2993372"/>
              <a:gd name="connsiteX3" fmla="*/ 11835341 w 11835341"/>
              <a:gd name="connsiteY3" fmla="*/ 5949 h 2993372"/>
              <a:gd name="connsiteX4" fmla="*/ 11835341 w 11835341"/>
              <a:gd name="connsiteY4" fmla="*/ 2993372 h 2993372"/>
              <a:gd name="connsiteX5" fmla="*/ 1000 w 11835341"/>
              <a:gd name="connsiteY5" fmla="*/ 2993372 h 2993372"/>
              <a:gd name="connsiteX6" fmla="*/ 0 w 11835341"/>
              <a:gd name="connsiteY6" fmla="*/ 897278 h 2993372"/>
              <a:gd name="connsiteX0" fmla="*/ 0 w 11835341"/>
              <a:gd name="connsiteY0" fmla="*/ 898261 h 2994355"/>
              <a:gd name="connsiteX1" fmla="*/ 2025820 w 11835341"/>
              <a:gd name="connsiteY1" fmla="*/ 264554 h 2994355"/>
              <a:gd name="connsiteX2" fmla="*/ 5916845 w 11835341"/>
              <a:gd name="connsiteY2" fmla="*/ 4924 h 2994355"/>
              <a:gd name="connsiteX3" fmla="*/ 11835341 w 11835341"/>
              <a:gd name="connsiteY3" fmla="*/ 6932 h 2994355"/>
              <a:gd name="connsiteX4" fmla="*/ 11835341 w 11835341"/>
              <a:gd name="connsiteY4" fmla="*/ 2994355 h 2994355"/>
              <a:gd name="connsiteX5" fmla="*/ 1000 w 11835341"/>
              <a:gd name="connsiteY5" fmla="*/ 2994355 h 2994355"/>
              <a:gd name="connsiteX6" fmla="*/ 0 w 11835341"/>
              <a:gd name="connsiteY6" fmla="*/ 898261 h 2994355"/>
              <a:gd name="connsiteX0" fmla="*/ 0 w 11835341"/>
              <a:gd name="connsiteY0" fmla="*/ 901345 h 2997439"/>
              <a:gd name="connsiteX1" fmla="*/ 2025820 w 11835341"/>
              <a:gd name="connsiteY1" fmla="*/ 267638 h 2997439"/>
              <a:gd name="connsiteX2" fmla="*/ 3810844 w 11835341"/>
              <a:gd name="connsiteY2" fmla="*/ 3863 h 2997439"/>
              <a:gd name="connsiteX3" fmla="*/ 11835341 w 11835341"/>
              <a:gd name="connsiteY3" fmla="*/ 10016 h 2997439"/>
              <a:gd name="connsiteX4" fmla="*/ 11835341 w 11835341"/>
              <a:gd name="connsiteY4" fmla="*/ 2997439 h 2997439"/>
              <a:gd name="connsiteX5" fmla="*/ 1000 w 11835341"/>
              <a:gd name="connsiteY5" fmla="*/ 2997439 h 2997439"/>
              <a:gd name="connsiteX6" fmla="*/ 0 w 11835341"/>
              <a:gd name="connsiteY6" fmla="*/ 901345 h 2997439"/>
              <a:gd name="connsiteX0" fmla="*/ 0 w 11835341"/>
              <a:gd name="connsiteY0" fmla="*/ 897482 h 2993576"/>
              <a:gd name="connsiteX1" fmla="*/ 2025820 w 11835341"/>
              <a:gd name="connsiteY1" fmla="*/ 263775 h 2993576"/>
              <a:gd name="connsiteX2" fmla="*/ 3810844 w 11835341"/>
              <a:gd name="connsiteY2" fmla="*/ 0 h 2993576"/>
              <a:gd name="connsiteX3" fmla="*/ 11835341 w 11835341"/>
              <a:gd name="connsiteY3" fmla="*/ 6153 h 2993576"/>
              <a:gd name="connsiteX4" fmla="*/ 11835341 w 11835341"/>
              <a:gd name="connsiteY4" fmla="*/ 2993576 h 2993576"/>
              <a:gd name="connsiteX5" fmla="*/ 1000 w 11835341"/>
              <a:gd name="connsiteY5" fmla="*/ 2993576 h 2993576"/>
              <a:gd name="connsiteX6" fmla="*/ 0 w 11835341"/>
              <a:gd name="connsiteY6" fmla="*/ 897482 h 2993576"/>
              <a:gd name="connsiteX0" fmla="*/ 478839 w 12313180"/>
              <a:gd name="connsiteY0" fmla="*/ 2993576 h 2993576"/>
              <a:gd name="connsiteX1" fmla="*/ 2503659 w 12313180"/>
              <a:gd name="connsiteY1" fmla="*/ 263775 h 2993576"/>
              <a:gd name="connsiteX2" fmla="*/ 4288683 w 12313180"/>
              <a:gd name="connsiteY2" fmla="*/ 0 h 2993576"/>
              <a:gd name="connsiteX3" fmla="*/ 12313180 w 12313180"/>
              <a:gd name="connsiteY3" fmla="*/ 6153 h 2993576"/>
              <a:gd name="connsiteX4" fmla="*/ 12313180 w 12313180"/>
              <a:gd name="connsiteY4" fmla="*/ 2993576 h 2993576"/>
              <a:gd name="connsiteX5" fmla="*/ 478839 w 12313180"/>
              <a:gd name="connsiteY5" fmla="*/ 2993576 h 2993576"/>
              <a:gd name="connsiteX0" fmla="*/ 478855 w 12313196"/>
              <a:gd name="connsiteY0" fmla="*/ 2993576 h 2993576"/>
              <a:gd name="connsiteX1" fmla="*/ 2503675 w 12313196"/>
              <a:gd name="connsiteY1" fmla="*/ 263775 h 2993576"/>
              <a:gd name="connsiteX2" fmla="*/ 4288699 w 12313196"/>
              <a:gd name="connsiteY2" fmla="*/ 0 h 2993576"/>
              <a:gd name="connsiteX3" fmla="*/ 12313196 w 12313196"/>
              <a:gd name="connsiteY3" fmla="*/ 6153 h 2993576"/>
              <a:gd name="connsiteX4" fmla="*/ 12313196 w 12313196"/>
              <a:gd name="connsiteY4" fmla="*/ 2993576 h 2993576"/>
              <a:gd name="connsiteX5" fmla="*/ 478855 w 12313196"/>
              <a:gd name="connsiteY5" fmla="*/ 2993576 h 2993576"/>
              <a:gd name="connsiteX0" fmla="*/ 455988 w 12290329"/>
              <a:gd name="connsiteY0" fmla="*/ 2993576 h 2993576"/>
              <a:gd name="connsiteX1" fmla="*/ 2694909 w 12290329"/>
              <a:gd name="connsiteY1" fmla="*/ 983556 h 2993576"/>
              <a:gd name="connsiteX2" fmla="*/ 4265832 w 12290329"/>
              <a:gd name="connsiteY2" fmla="*/ 0 h 2993576"/>
              <a:gd name="connsiteX3" fmla="*/ 12290329 w 12290329"/>
              <a:gd name="connsiteY3" fmla="*/ 6153 h 2993576"/>
              <a:gd name="connsiteX4" fmla="*/ 12290329 w 12290329"/>
              <a:gd name="connsiteY4" fmla="*/ 2993576 h 2993576"/>
              <a:gd name="connsiteX5" fmla="*/ 455988 w 12290329"/>
              <a:gd name="connsiteY5" fmla="*/ 2993576 h 2993576"/>
              <a:gd name="connsiteX0" fmla="*/ 611227 w 12445568"/>
              <a:gd name="connsiteY0" fmla="*/ 2993576 h 2993576"/>
              <a:gd name="connsiteX1" fmla="*/ 1703514 w 12445568"/>
              <a:gd name="connsiteY1" fmla="*/ 1061475 h 2993576"/>
              <a:gd name="connsiteX2" fmla="*/ 4421071 w 12445568"/>
              <a:gd name="connsiteY2" fmla="*/ 0 h 2993576"/>
              <a:gd name="connsiteX3" fmla="*/ 12445568 w 12445568"/>
              <a:gd name="connsiteY3" fmla="*/ 6153 h 2993576"/>
              <a:gd name="connsiteX4" fmla="*/ 12445568 w 12445568"/>
              <a:gd name="connsiteY4" fmla="*/ 2993576 h 2993576"/>
              <a:gd name="connsiteX5" fmla="*/ 611227 w 12445568"/>
              <a:gd name="connsiteY5" fmla="*/ 2993576 h 2993576"/>
              <a:gd name="connsiteX0" fmla="*/ 591975 w 12426316"/>
              <a:gd name="connsiteY0" fmla="*/ 2993576 h 2993576"/>
              <a:gd name="connsiteX1" fmla="*/ 1684262 w 12426316"/>
              <a:gd name="connsiteY1" fmla="*/ 1061475 h 2993576"/>
              <a:gd name="connsiteX2" fmla="*/ 4401819 w 12426316"/>
              <a:gd name="connsiteY2" fmla="*/ 0 h 2993576"/>
              <a:gd name="connsiteX3" fmla="*/ 12426316 w 12426316"/>
              <a:gd name="connsiteY3" fmla="*/ 6153 h 2993576"/>
              <a:gd name="connsiteX4" fmla="*/ 12426316 w 12426316"/>
              <a:gd name="connsiteY4" fmla="*/ 2993576 h 2993576"/>
              <a:gd name="connsiteX5" fmla="*/ 591975 w 12426316"/>
              <a:gd name="connsiteY5" fmla="*/ 2993576 h 2993576"/>
              <a:gd name="connsiteX0" fmla="*/ 0 w 11834341"/>
              <a:gd name="connsiteY0" fmla="*/ 2993576 h 2993576"/>
              <a:gd name="connsiteX1" fmla="*/ 1092287 w 11834341"/>
              <a:gd name="connsiteY1" fmla="*/ 1061475 h 2993576"/>
              <a:gd name="connsiteX2" fmla="*/ 3809844 w 11834341"/>
              <a:gd name="connsiteY2" fmla="*/ 0 h 2993576"/>
              <a:gd name="connsiteX3" fmla="*/ 11834341 w 11834341"/>
              <a:gd name="connsiteY3" fmla="*/ 6153 h 2993576"/>
              <a:gd name="connsiteX4" fmla="*/ 11834341 w 11834341"/>
              <a:gd name="connsiteY4" fmla="*/ 2993576 h 2993576"/>
              <a:gd name="connsiteX5" fmla="*/ 0 w 11834341"/>
              <a:gd name="connsiteY5" fmla="*/ 2993576 h 2993576"/>
              <a:gd name="connsiteX0" fmla="*/ 274 w 11834615"/>
              <a:gd name="connsiteY0" fmla="*/ 2993576 h 2993576"/>
              <a:gd name="connsiteX1" fmla="*/ 1092561 w 11834615"/>
              <a:gd name="connsiteY1" fmla="*/ 1061475 h 2993576"/>
              <a:gd name="connsiteX2" fmla="*/ 3810118 w 11834615"/>
              <a:gd name="connsiteY2" fmla="*/ 0 h 2993576"/>
              <a:gd name="connsiteX3" fmla="*/ 11834615 w 11834615"/>
              <a:gd name="connsiteY3" fmla="*/ 6153 h 2993576"/>
              <a:gd name="connsiteX4" fmla="*/ 11834615 w 11834615"/>
              <a:gd name="connsiteY4" fmla="*/ 2993576 h 2993576"/>
              <a:gd name="connsiteX5" fmla="*/ 274 w 11834615"/>
              <a:gd name="connsiteY5" fmla="*/ 2993576 h 2993576"/>
              <a:gd name="connsiteX0" fmla="*/ 400 w 11834741"/>
              <a:gd name="connsiteY0" fmla="*/ 2993576 h 2993576"/>
              <a:gd name="connsiteX1" fmla="*/ 900311 w 11834741"/>
              <a:gd name="connsiteY1" fmla="*/ 1204494 h 2993576"/>
              <a:gd name="connsiteX2" fmla="*/ 3810244 w 11834741"/>
              <a:gd name="connsiteY2" fmla="*/ 0 h 2993576"/>
              <a:gd name="connsiteX3" fmla="*/ 11834741 w 11834741"/>
              <a:gd name="connsiteY3" fmla="*/ 6153 h 2993576"/>
              <a:gd name="connsiteX4" fmla="*/ 11834741 w 11834741"/>
              <a:gd name="connsiteY4" fmla="*/ 2993576 h 2993576"/>
              <a:gd name="connsiteX5" fmla="*/ 400 w 11834741"/>
              <a:gd name="connsiteY5" fmla="*/ 2993576 h 2993576"/>
              <a:gd name="connsiteX0" fmla="*/ 494 w 11834835"/>
              <a:gd name="connsiteY0" fmla="*/ 2993576 h 2993576"/>
              <a:gd name="connsiteX1" fmla="*/ 900405 w 11834835"/>
              <a:gd name="connsiteY1" fmla="*/ 1204494 h 2993576"/>
              <a:gd name="connsiteX2" fmla="*/ 3810338 w 11834835"/>
              <a:gd name="connsiteY2" fmla="*/ 0 h 2993576"/>
              <a:gd name="connsiteX3" fmla="*/ 11834835 w 11834835"/>
              <a:gd name="connsiteY3" fmla="*/ 6153 h 2993576"/>
              <a:gd name="connsiteX4" fmla="*/ 11834835 w 11834835"/>
              <a:gd name="connsiteY4" fmla="*/ 2993576 h 2993576"/>
              <a:gd name="connsiteX5" fmla="*/ 494 w 11834835"/>
              <a:gd name="connsiteY5" fmla="*/ 2993576 h 2993576"/>
              <a:gd name="connsiteX0" fmla="*/ 602 w 11834943"/>
              <a:gd name="connsiteY0" fmla="*/ 2993576 h 2993576"/>
              <a:gd name="connsiteX1" fmla="*/ 900513 w 11834943"/>
              <a:gd name="connsiteY1" fmla="*/ 1204494 h 2993576"/>
              <a:gd name="connsiteX2" fmla="*/ 3810446 w 11834943"/>
              <a:gd name="connsiteY2" fmla="*/ 0 h 2993576"/>
              <a:gd name="connsiteX3" fmla="*/ 11834943 w 11834943"/>
              <a:gd name="connsiteY3" fmla="*/ 6153 h 2993576"/>
              <a:gd name="connsiteX4" fmla="*/ 11834943 w 11834943"/>
              <a:gd name="connsiteY4" fmla="*/ 2993576 h 2993576"/>
              <a:gd name="connsiteX5" fmla="*/ 602 w 11834943"/>
              <a:gd name="connsiteY5" fmla="*/ 2993576 h 2993576"/>
              <a:gd name="connsiteX0" fmla="*/ 602 w 11834943"/>
              <a:gd name="connsiteY0" fmla="*/ 2993576 h 2993576"/>
              <a:gd name="connsiteX1" fmla="*/ 900513 w 11834943"/>
              <a:gd name="connsiteY1" fmla="*/ 1204494 h 2993576"/>
              <a:gd name="connsiteX2" fmla="*/ 3810446 w 11834943"/>
              <a:gd name="connsiteY2" fmla="*/ 0 h 2993576"/>
              <a:gd name="connsiteX3" fmla="*/ 11834943 w 11834943"/>
              <a:gd name="connsiteY3" fmla="*/ 6153 h 2993576"/>
              <a:gd name="connsiteX4" fmla="*/ 11834943 w 11834943"/>
              <a:gd name="connsiteY4" fmla="*/ 2993576 h 2993576"/>
              <a:gd name="connsiteX5" fmla="*/ 602 w 11834943"/>
              <a:gd name="connsiteY5" fmla="*/ 2993576 h 2993576"/>
              <a:gd name="connsiteX0" fmla="*/ 566 w 11834907"/>
              <a:gd name="connsiteY0" fmla="*/ 2991384 h 2991384"/>
              <a:gd name="connsiteX1" fmla="*/ 900477 w 11834907"/>
              <a:gd name="connsiteY1" fmla="*/ 1202302 h 2991384"/>
              <a:gd name="connsiteX2" fmla="*/ 3813977 w 11834907"/>
              <a:gd name="connsiteY2" fmla="*/ 0 h 2991384"/>
              <a:gd name="connsiteX3" fmla="*/ 11834907 w 11834907"/>
              <a:gd name="connsiteY3" fmla="*/ 3961 h 2991384"/>
              <a:gd name="connsiteX4" fmla="*/ 11834907 w 11834907"/>
              <a:gd name="connsiteY4" fmla="*/ 2991384 h 2991384"/>
              <a:gd name="connsiteX5" fmla="*/ 566 w 11834907"/>
              <a:gd name="connsiteY5" fmla="*/ 2991384 h 2991384"/>
              <a:gd name="connsiteX0" fmla="*/ 577 w 11834918"/>
              <a:gd name="connsiteY0" fmla="*/ 2992114 h 2992114"/>
              <a:gd name="connsiteX1" fmla="*/ 900488 w 11834918"/>
              <a:gd name="connsiteY1" fmla="*/ 1203032 h 2992114"/>
              <a:gd name="connsiteX2" fmla="*/ 3853241 w 11834918"/>
              <a:gd name="connsiteY2" fmla="*/ 0 h 2992114"/>
              <a:gd name="connsiteX3" fmla="*/ 11834918 w 11834918"/>
              <a:gd name="connsiteY3" fmla="*/ 4691 h 2992114"/>
              <a:gd name="connsiteX4" fmla="*/ 11834918 w 11834918"/>
              <a:gd name="connsiteY4" fmla="*/ 2992114 h 2992114"/>
              <a:gd name="connsiteX5" fmla="*/ 577 w 11834918"/>
              <a:gd name="connsiteY5" fmla="*/ 2992114 h 2992114"/>
              <a:gd name="connsiteX0" fmla="*/ 577 w 11834918"/>
              <a:gd name="connsiteY0" fmla="*/ 2992114 h 2992114"/>
              <a:gd name="connsiteX1" fmla="*/ 900488 w 11834918"/>
              <a:gd name="connsiteY1" fmla="*/ 1203032 h 2992114"/>
              <a:gd name="connsiteX2" fmla="*/ 3853241 w 11834918"/>
              <a:gd name="connsiteY2" fmla="*/ 0 h 2992114"/>
              <a:gd name="connsiteX3" fmla="*/ 11834918 w 11834918"/>
              <a:gd name="connsiteY3" fmla="*/ 4691 h 2992114"/>
              <a:gd name="connsiteX4" fmla="*/ 11834918 w 11834918"/>
              <a:gd name="connsiteY4" fmla="*/ 2992114 h 2992114"/>
              <a:gd name="connsiteX5" fmla="*/ 577 w 11834918"/>
              <a:gd name="connsiteY5" fmla="*/ 2992114 h 2992114"/>
              <a:gd name="connsiteX0" fmla="*/ 577 w 11834918"/>
              <a:gd name="connsiteY0" fmla="*/ 2992114 h 2992114"/>
              <a:gd name="connsiteX1" fmla="*/ 900488 w 11834918"/>
              <a:gd name="connsiteY1" fmla="*/ 1203032 h 2992114"/>
              <a:gd name="connsiteX2" fmla="*/ 3853241 w 11834918"/>
              <a:gd name="connsiteY2" fmla="*/ 0 h 2992114"/>
              <a:gd name="connsiteX3" fmla="*/ 11834918 w 11834918"/>
              <a:gd name="connsiteY3" fmla="*/ 4691 h 2992114"/>
              <a:gd name="connsiteX4" fmla="*/ 11834918 w 11834918"/>
              <a:gd name="connsiteY4" fmla="*/ 2992114 h 2992114"/>
              <a:gd name="connsiteX5" fmla="*/ 577 w 11834918"/>
              <a:gd name="connsiteY5" fmla="*/ 2992114 h 2992114"/>
              <a:gd name="connsiteX0" fmla="*/ 599 w 11834940"/>
              <a:gd name="connsiteY0" fmla="*/ 2992114 h 2992114"/>
              <a:gd name="connsiteX1" fmla="*/ 889804 w 11834940"/>
              <a:gd name="connsiteY1" fmla="*/ 1201573 h 2992114"/>
              <a:gd name="connsiteX2" fmla="*/ 3853263 w 11834940"/>
              <a:gd name="connsiteY2" fmla="*/ 0 h 2992114"/>
              <a:gd name="connsiteX3" fmla="*/ 11834940 w 11834940"/>
              <a:gd name="connsiteY3" fmla="*/ 4691 h 2992114"/>
              <a:gd name="connsiteX4" fmla="*/ 11834940 w 11834940"/>
              <a:gd name="connsiteY4" fmla="*/ 2992114 h 2992114"/>
              <a:gd name="connsiteX5" fmla="*/ 599 w 11834940"/>
              <a:gd name="connsiteY5" fmla="*/ 2992114 h 2992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34940" h="2992114">
                <a:moveTo>
                  <a:pt x="599" y="2992114"/>
                </a:moveTo>
                <a:cubicBezTo>
                  <a:pt x="-14320" y="2456311"/>
                  <a:pt x="247693" y="1700259"/>
                  <a:pt x="889804" y="1201573"/>
                </a:cubicBezTo>
                <a:cubicBezTo>
                  <a:pt x="1531915" y="702887"/>
                  <a:pt x="2418364" y="284089"/>
                  <a:pt x="3853263" y="0"/>
                </a:cubicBezTo>
                <a:lnTo>
                  <a:pt x="11834940" y="4691"/>
                </a:lnTo>
                <a:lnTo>
                  <a:pt x="11834940" y="2992114"/>
                </a:lnTo>
                <a:lnTo>
                  <a:pt x="599" y="2992114"/>
                </a:lnTo>
                <a:close/>
              </a:path>
            </a:pathLst>
          </a:custGeom>
          <a:solidFill>
            <a:schemeClr val="bg1">
              <a:lumMod val="95000"/>
            </a:schemeClr>
          </a:solidFill>
          <a:ln w="1270">
            <a:noFill/>
          </a:ln>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a:t>
            </a:r>
            <a:br>
              <a:rPr lang="fi-FI"/>
            </a:br>
            <a:r>
              <a:rPr lang="fi-FI"/>
              <a:t>tai valitsemalla </a:t>
            </a:r>
            <a:r>
              <a:rPr lang="fi-FI" err="1"/>
              <a:t>Kameleonin</a:t>
            </a:r>
            <a:r>
              <a:rPr lang="fi-FI"/>
              <a:t> Kuvagalleriasta</a:t>
            </a:r>
            <a:br>
              <a:rPr lang="fi-FI"/>
            </a:br>
            <a:br>
              <a:rPr lang="fi-FI"/>
            </a:br>
            <a:r>
              <a:rPr lang="fi-FI"/>
              <a:t>Voit vaihtaa kuvan Kuvagalleriasta</a:t>
            </a:r>
            <a:br>
              <a:rPr lang="fi-FI"/>
            </a:br>
            <a:r>
              <a:rPr lang="fi-FI"/>
              <a:t>tai poistamalla kuvan ja lisäämällä uuden kuvan napsauttamalla kuvaketta</a:t>
            </a:r>
          </a:p>
        </p:txBody>
      </p:sp>
      <p:sp>
        <p:nvSpPr>
          <p:cNvPr id="8" name="Päivämäärän paikkamerkki 3">
            <a:extLst>
              <a:ext uri="{FF2B5EF4-FFF2-40B4-BE49-F238E27FC236}">
                <a16:creationId xmlns:a16="http://schemas.microsoft.com/office/drawing/2014/main" id="{C6FEECCB-0ADF-4D17-9F84-4B82085D7DE7}"/>
              </a:ext>
            </a:extLst>
          </p:cNvPr>
          <p:cNvSpPr>
            <a:spLocks noGrp="1"/>
          </p:cNvSpPr>
          <p:nvPr>
            <p:ph type="dt" sz="half" idx="10"/>
          </p:nvPr>
        </p:nvSpPr>
        <p:spPr>
          <a:xfrm>
            <a:off x="1229867" y="5719568"/>
            <a:ext cx="1242000" cy="642035"/>
          </a:xfrm>
        </p:spPr>
        <p:txBody>
          <a:bodyPr vert="horz" lIns="0" tIns="0" rIns="0" bIns="0" rtlCol="0" anchor="t" anchorCtr="0">
            <a:noAutofit/>
          </a:bodyPr>
          <a:lstStyle>
            <a:lvl1pPr algn="l">
              <a:defRPr lang="fi-FI" sz="1600" smtClean="0">
                <a:solidFill>
                  <a:schemeClr val="bg1"/>
                </a:solidFill>
              </a:defRPr>
            </a:lvl1pPr>
          </a:lstStyle>
          <a:p>
            <a:pPr algn="l">
              <a:lnSpc>
                <a:spcPct val="110000"/>
              </a:lnSpc>
              <a:buClr>
                <a:schemeClr val="tx2"/>
              </a:buClr>
            </a:pPr>
            <a:r>
              <a:rPr lang="fi-FI"/>
              <a:t>26.4.2022  |  </a:t>
            </a:r>
          </a:p>
        </p:txBody>
      </p:sp>
      <p:sp>
        <p:nvSpPr>
          <p:cNvPr id="9" name="Alatunnisteen paikkamerkki 4">
            <a:extLst>
              <a:ext uri="{FF2B5EF4-FFF2-40B4-BE49-F238E27FC236}">
                <a16:creationId xmlns:a16="http://schemas.microsoft.com/office/drawing/2014/main" id="{580B187D-B133-4F32-8568-D26ED15FC1AF}"/>
              </a:ext>
            </a:extLst>
          </p:cNvPr>
          <p:cNvSpPr>
            <a:spLocks noGrp="1"/>
          </p:cNvSpPr>
          <p:nvPr>
            <p:ph type="ftr" sz="quarter" idx="11"/>
          </p:nvPr>
        </p:nvSpPr>
        <p:spPr>
          <a:xfrm>
            <a:off x="1229868" y="5462054"/>
            <a:ext cx="4114800" cy="241091"/>
          </a:xfrm>
        </p:spPr>
        <p:txBody>
          <a:bodyPr vert="horz" lIns="0" tIns="0" rIns="0" bIns="0" rtlCol="0" anchor="t" anchorCtr="0">
            <a:noAutofit/>
          </a:bodyPr>
          <a:lstStyle>
            <a:lvl1pPr algn="l">
              <a:defRPr lang="fi-FI" sz="1600" dirty="0" smtClean="0">
                <a:solidFill>
                  <a:schemeClr val="bg1"/>
                </a:solidFill>
              </a:defRPr>
            </a:lvl1pPr>
          </a:lstStyle>
          <a:p>
            <a:pPr algn="l">
              <a:lnSpc>
                <a:spcPct val="110000"/>
              </a:lnSpc>
              <a:buClr>
                <a:schemeClr val="tx2"/>
              </a:buClr>
            </a:pPr>
            <a:r>
              <a:rPr lang="fi-FI"/>
              <a:t>Päivi Hautaniemi</a:t>
            </a:r>
          </a:p>
        </p:txBody>
      </p:sp>
    </p:spTree>
    <p:extLst>
      <p:ext uri="{BB962C8B-B14F-4D97-AF65-F5344CB8AC3E}">
        <p14:creationId xmlns:p14="http://schemas.microsoft.com/office/powerpoint/2010/main" val="2893251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Otsikko ja sisältö" preserve="1" userDrawn="1">
  <p:cSld name="Otsikko ja sisältö">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p:txBody>
          <a:bodyPr/>
          <a:lstStyle/>
          <a:p>
            <a:r>
              <a:rPr lang="fi-FI"/>
              <a:t>Tekstisivu, yksipalstainen.</a:t>
            </a:r>
            <a:br>
              <a:rPr lang="fi-FI"/>
            </a:br>
            <a:r>
              <a:rPr lang="fi-FI"/>
              <a:t>Otsikon pituus korkeintaan kaksi riviä</a:t>
            </a:r>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p:txBody>
          <a:bodyPr/>
          <a:lstStyle>
            <a:lvl1pPr>
              <a:defRPr/>
            </a:lvl1pPr>
          </a:lstStyle>
          <a:p>
            <a:pPr marL="357188" marR="0" lvl="0" indent="-357188" algn="l" defTabSz="914400" rtl="0" eaLnBrk="1" fontAlgn="auto" latinLnBrk="0" hangingPunct="1">
              <a:lnSpc>
                <a:spcPct val="100000"/>
              </a:lnSpc>
              <a:spcBef>
                <a:spcPts val="1000"/>
              </a:spcBef>
              <a:spcAft>
                <a:spcPts val="0"/>
              </a:spcAft>
              <a:buClr>
                <a:schemeClr val="tx2"/>
              </a:buClr>
              <a:buSzTx/>
              <a:buFont typeface="Arial" panose="020B0604020202020204" pitchFamily="34" charset="0"/>
              <a:buChar char="•"/>
              <a:tabLst/>
              <a:defRPr/>
            </a:pPr>
            <a:r>
              <a:rPr lang="fi-FI"/>
              <a:t>Esityksen tekstisisältö tulee aina tiivistää mahdollisimman lyhyeksi.</a:t>
            </a:r>
            <a:br>
              <a:rPr lang="fi-FI"/>
            </a:br>
            <a:r>
              <a:rPr lang="fi-FI"/>
              <a:t>Esityksen tarkoitus on toimia esiintyjän ja kuulijan tukena.</a:t>
            </a:r>
            <a:br>
              <a:rPr lang="fi-FI"/>
            </a:br>
            <a:r>
              <a:rPr lang="fi-FI"/>
              <a:t>     Toinen tekstitaso, jos sivulle tulee enemmän tekstiä.</a:t>
            </a:r>
            <a:br>
              <a:rPr lang="fi-FI"/>
            </a:br>
            <a:r>
              <a:rPr lang="fi-FI"/>
              <a:t>           Kolmas tekstitaso, jos haluat esittää enemmän tekstiä.</a:t>
            </a:r>
            <a:br>
              <a:rPr lang="fi-FI"/>
            </a:br>
            <a:r>
              <a:rPr lang="fi-FI"/>
              <a:t>Muistathan, että kun tekstin koko pienenee, myös viesti pienenee.</a:t>
            </a:r>
            <a:br>
              <a:rPr lang="fi-FI"/>
            </a:br>
            <a:r>
              <a:rPr lang="fi-FI" noProof="0"/>
              <a:t>Esityksen tulee olla myös kaukaa luettavissa.</a:t>
            </a:r>
            <a:endParaRPr lang="fi-FI"/>
          </a:p>
          <a:p>
            <a:pPr marL="715963" marR="0" lvl="1" indent="-357188" algn="l" defTabSz="914400" rtl="0" eaLnBrk="1" fontAlgn="auto" latinLnBrk="0" hangingPunct="1">
              <a:lnSpc>
                <a:spcPct val="100000"/>
              </a:lnSpc>
              <a:spcBef>
                <a:spcPts val="1000"/>
              </a:spcBef>
              <a:spcAft>
                <a:spcPts val="0"/>
              </a:spcAft>
              <a:buClr>
                <a:schemeClr val="tx2"/>
              </a:buClr>
              <a:buSzTx/>
              <a:buFont typeface="Arial" panose="020B0604020202020204" pitchFamily="34" charset="0"/>
              <a:buChar char="•"/>
              <a:tabLst/>
              <a:defRPr/>
            </a:pPr>
            <a:r>
              <a:rPr lang="en-GB"/>
              <a:t>Second level</a:t>
            </a:r>
          </a:p>
          <a:p>
            <a:pPr lvl="2"/>
            <a:r>
              <a:rPr lang="en-GB"/>
              <a:t>Third level</a:t>
            </a:r>
          </a:p>
          <a:p>
            <a:pPr lvl="3"/>
            <a:r>
              <a:rPr lang="en-GB"/>
              <a:t>Fourth level</a:t>
            </a:r>
          </a:p>
          <a:p>
            <a:pPr lvl="4"/>
            <a:r>
              <a:rPr lang="en-GB"/>
              <a:t>Fifth level</a:t>
            </a:r>
            <a:endParaRPr lang="fi-FI"/>
          </a:p>
        </p:txBody>
      </p:sp>
      <p:sp>
        <p:nvSpPr>
          <p:cNvPr id="7" name="Dian numeron paikkamerkki 5">
            <a:extLst>
              <a:ext uri="{FF2B5EF4-FFF2-40B4-BE49-F238E27FC236}">
                <a16:creationId xmlns:a16="http://schemas.microsoft.com/office/drawing/2014/main" id="{59A7EFB5-C255-48FB-AC67-FD651DD26DFA}"/>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8" name="Päivämäärän paikkamerkki 3">
            <a:extLst>
              <a:ext uri="{FF2B5EF4-FFF2-40B4-BE49-F238E27FC236}">
                <a16:creationId xmlns:a16="http://schemas.microsoft.com/office/drawing/2014/main" id="{AFC3A855-B6C3-4D1E-B148-55910A257805}"/>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26.4.2022   |   </a:t>
            </a:r>
          </a:p>
        </p:txBody>
      </p:sp>
      <p:sp>
        <p:nvSpPr>
          <p:cNvPr id="9" name="Alatunnisteen paikkamerkki 4">
            <a:extLst>
              <a:ext uri="{FF2B5EF4-FFF2-40B4-BE49-F238E27FC236}">
                <a16:creationId xmlns:a16="http://schemas.microsoft.com/office/drawing/2014/main" id="{032AC8CB-3366-4A2A-8272-93E368384014}"/>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Päivi Hautaniemi</a:t>
            </a:r>
          </a:p>
        </p:txBody>
      </p:sp>
    </p:spTree>
    <p:extLst>
      <p:ext uri="{BB962C8B-B14F-4D97-AF65-F5344CB8AC3E}">
        <p14:creationId xmlns:p14="http://schemas.microsoft.com/office/powerpoint/2010/main" val="1380389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Kaavio" preserve="1" userDrawn="1">
  <p:cSld name="Kaavio">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p:txBody>
          <a:bodyPr/>
          <a:lstStyle/>
          <a:p>
            <a:r>
              <a:rPr lang="fi-FI" noProof="0"/>
              <a:t>Graafisivu</a:t>
            </a:r>
            <a:endParaRPr lang="fi-FI"/>
          </a:p>
        </p:txBody>
      </p:sp>
      <p:sp>
        <p:nvSpPr>
          <p:cNvPr id="7" name="Kaavion paikkamerkki 6">
            <a:extLst>
              <a:ext uri="{FF2B5EF4-FFF2-40B4-BE49-F238E27FC236}">
                <a16:creationId xmlns:a16="http://schemas.microsoft.com/office/drawing/2014/main" id="{0579DF22-3A20-4908-84E3-C2B55F28B856}"/>
              </a:ext>
            </a:extLst>
          </p:cNvPr>
          <p:cNvSpPr>
            <a:spLocks noGrp="1"/>
          </p:cNvSpPr>
          <p:nvPr>
            <p:ph type="chart" sz="quarter" idx="13" hasCustomPrompt="1"/>
          </p:nvPr>
        </p:nvSpPr>
        <p:spPr>
          <a:xfrm>
            <a:off x="922338" y="1857375"/>
            <a:ext cx="10636236" cy="4087813"/>
          </a:xfrm>
        </p:spPr>
        <p:txBody>
          <a:bodyPr/>
          <a:lstStyle>
            <a:lvl1pPr>
              <a:defRPr/>
            </a:lvl1pPr>
          </a:lstStyle>
          <a:p>
            <a:r>
              <a:rPr lang="fi-FI"/>
              <a:t>Käytä graafissa esityspohjan väripalettiin määriteltyjä värejä.</a:t>
            </a:r>
          </a:p>
        </p:txBody>
      </p:sp>
      <p:sp>
        <p:nvSpPr>
          <p:cNvPr id="8" name="Dian numeron paikkamerkki 5">
            <a:extLst>
              <a:ext uri="{FF2B5EF4-FFF2-40B4-BE49-F238E27FC236}">
                <a16:creationId xmlns:a16="http://schemas.microsoft.com/office/drawing/2014/main" id="{209C6B0D-979F-4D60-BDCD-B9E08FEB117F}"/>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9" name="Päivämäärän paikkamerkki 3">
            <a:extLst>
              <a:ext uri="{FF2B5EF4-FFF2-40B4-BE49-F238E27FC236}">
                <a16:creationId xmlns:a16="http://schemas.microsoft.com/office/drawing/2014/main" id="{AC29B563-2EC1-44DE-A678-D8C61D32BA36}"/>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26.4.2022   |   </a:t>
            </a:r>
          </a:p>
        </p:txBody>
      </p:sp>
      <p:sp>
        <p:nvSpPr>
          <p:cNvPr id="11" name="Alatunnisteen paikkamerkki 4">
            <a:extLst>
              <a:ext uri="{FF2B5EF4-FFF2-40B4-BE49-F238E27FC236}">
                <a16:creationId xmlns:a16="http://schemas.microsoft.com/office/drawing/2014/main" id="{26AFE581-53A8-4FFC-BC3A-F2173293E0D2}"/>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Päivi Hautaniemi</a:t>
            </a:r>
          </a:p>
        </p:txBody>
      </p:sp>
    </p:spTree>
    <p:extLst>
      <p:ext uri="{BB962C8B-B14F-4D97-AF65-F5344CB8AC3E}">
        <p14:creationId xmlns:p14="http://schemas.microsoft.com/office/powerpoint/2010/main" val="2889272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Kaksi sisältökohdetta" preserve="1" userDrawn="1">
  <p:cSld name="Kaksi sisältökohdetta">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365B018F-777B-44D1-9664-1407CB8459A7}"/>
              </a:ext>
            </a:extLst>
          </p:cNvPr>
          <p:cNvSpPr>
            <a:spLocks noGrp="1"/>
          </p:cNvSpPr>
          <p:nvPr>
            <p:ph type="title" hasCustomPrompt="1"/>
          </p:nvPr>
        </p:nvSpPr>
        <p:spPr/>
        <p:txBody>
          <a:bodyPr/>
          <a:lstStyle/>
          <a:p>
            <a:r>
              <a:rPr lang="fi-FI"/>
              <a:t>Tekstisivu, kaksi palstaa. </a:t>
            </a:r>
            <a:br>
              <a:rPr lang="fi-FI"/>
            </a:br>
            <a:r>
              <a:rPr lang="fi-FI"/>
              <a:t>Otsikon pituus korkeintaan kaksi riviä</a:t>
            </a:r>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60330"/>
            <a:ext cx="5094402" cy="4085499"/>
          </a:xfrm>
        </p:spPr>
        <p:txBody>
          <a:bodyPr/>
          <a:lstStyle>
            <a:lvl1pPr>
              <a:defRPr sz="2200"/>
            </a:lvl1pPr>
          </a:lstStyle>
          <a:p>
            <a:pPr lvl="0"/>
            <a:r>
              <a:rPr lang="fi-FI"/>
              <a:t>Esityksen teksti tulee aina tiivistää mahdollisimman lyhyeksi ja selkeäksi.</a:t>
            </a:r>
            <a:br>
              <a:rPr lang="fi-FI"/>
            </a:br>
            <a:r>
              <a:rPr lang="fi-FI"/>
              <a:t>Esityksen tarkoitus on toimia esiintyjän ja kuulijan tukena.</a:t>
            </a:r>
            <a:br>
              <a:rPr lang="fi-FI"/>
            </a:br>
            <a:r>
              <a:rPr lang="fi-FI"/>
              <a:t>Muistathan, että kun tekstin koko pienenee, myös viesti pienenee. Esityksen tulee olla myös kaukaa luettavissa</a:t>
            </a:r>
            <a:endParaRPr lang="en-GB"/>
          </a:p>
          <a:p>
            <a:pPr lvl="1"/>
            <a:r>
              <a:rPr lang="en-GB"/>
              <a:t>Second level</a:t>
            </a:r>
          </a:p>
          <a:p>
            <a:pPr lvl="2"/>
            <a:r>
              <a:rPr lang="en-GB"/>
              <a:t>Third level</a:t>
            </a:r>
          </a:p>
          <a:p>
            <a:pPr lvl="3"/>
            <a:r>
              <a:rPr lang="en-GB"/>
              <a:t>Fourth level</a:t>
            </a:r>
          </a:p>
          <a:p>
            <a:pPr lvl="4"/>
            <a:r>
              <a:rPr lang="en-GB"/>
              <a:t>Fifth level</a:t>
            </a:r>
            <a:endParaRPr lang="fi-FI"/>
          </a:p>
          <a:p>
            <a:pPr lvl="0"/>
            <a:endParaRPr lang="fi-FI"/>
          </a:p>
        </p:txBody>
      </p:sp>
      <p:sp>
        <p:nvSpPr>
          <p:cNvPr id="10" name="Sisällön paikkamerkki 2">
            <a:extLst>
              <a:ext uri="{FF2B5EF4-FFF2-40B4-BE49-F238E27FC236}">
                <a16:creationId xmlns:a16="http://schemas.microsoft.com/office/drawing/2014/main" id="{28EEFB21-D5D7-40FA-809A-551ABC7D90AB}"/>
              </a:ext>
            </a:extLst>
          </p:cNvPr>
          <p:cNvSpPr>
            <a:spLocks noGrp="1"/>
          </p:cNvSpPr>
          <p:nvPr>
            <p:ph idx="13" hasCustomPrompt="1"/>
          </p:nvPr>
        </p:nvSpPr>
        <p:spPr>
          <a:xfrm>
            <a:off x="6264608" y="1860330"/>
            <a:ext cx="5094402" cy="4085499"/>
          </a:xfrm>
        </p:spPr>
        <p:txBody>
          <a:bodyPr/>
          <a:lstStyle>
            <a:lvl1pPr>
              <a:defRPr sz="2200"/>
            </a:lvl1pPr>
          </a:lstStyle>
          <a:p>
            <a:pPr lvl="0"/>
            <a:r>
              <a:rPr lang="fi-FI"/>
              <a:t>Esityksen teksti tulee aina tiivistää mahdollisimman lyhyeksi ja selkeäksi.</a:t>
            </a:r>
            <a:br>
              <a:rPr lang="fi-FI"/>
            </a:br>
            <a:r>
              <a:rPr lang="fi-FI"/>
              <a:t>Esityksen tarkoitus on toimia esiintyjän ja kuulijan tukena.</a:t>
            </a:r>
            <a:br>
              <a:rPr lang="fi-FI"/>
            </a:br>
            <a:r>
              <a:rPr lang="fi-FI"/>
              <a:t>Muistathan, että kun tekstin koko pienenee, myös viesti pienenee. Esityksen tulee olla myös kaukaa luettavissa</a:t>
            </a:r>
            <a:endParaRPr lang="en-GB"/>
          </a:p>
          <a:p>
            <a:pPr lvl="1"/>
            <a:r>
              <a:rPr lang="en-GB"/>
              <a:t>Second level</a:t>
            </a:r>
          </a:p>
          <a:p>
            <a:pPr lvl="2"/>
            <a:r>
              <a:rPr lang="en-GB"/>
              <a:t>Third level</a:t>
            </a:r>
          </a:p>
          <a:p>
            <a:pPr lvl="3"/>
            <a:r>
              <a:rPr lang="en-GB"/>
              <a:t>Fourth level</a:t>
            </a:r>
          </a:p>
          <a:p>
            <a:pPr lvl="4"/>
            <a:r>
              <a:rPr lang="en-GB"/>
              <a:t>Fifth level</a:t>
            </a:r>
            <a:endParaRPr lang="fi-FI"/>
          </a:p>
        </p:txBody>
      </p:sp>
      <p:sp>
        <p:nvSpPr>
          <p:cNvPr id="8" name="Dian numeron paikkamerkki 5">
            <a:extLst>
              <a:ext uri="{FF2B5EF4-FFF2-40B4-BE49-F238E27FC236}">
                <a16:creationId xmlns:a16="http://schemas.microsoft.com/office/drawing/2014/main" id="{D47A3072-D8CC-4075-92AE-6CB4C819BCA5}"/>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9" name="Päivämäärän paikkamerkki 3">
            <a:extLst>
              <a:ext uri="{FF2B5EF4-FFF2-40B4-BE49-F238E27FC236}">
                <a16:creationId xmlns:a16="http://schemas.microsoft.com/office/drawing/2014/main" id="{980BC45E-8E9E-4CF2-9961-01D999365279}"/>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26.4.2022   |   </a:t>
            </a:r>
          </a:p>
        </p:txBody>
      </p:sp>
      <p:sp>
        <p:nvSpPr>
          <p:cNvPr id="14" name="Alatunnisteen paikkamerkki 4">
            <a:extLst>
              <a:ext uri="{FF2B5EF4-FFF2-40B4-BE49-F238E27FC236}">
                <a16:creationId xmlns:a16="http://schemas.microsoft.com/office/drawing/2014/main" id="{B063AE42-CA71-44E3-9D58-B8058F37EC93}"/>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Päivi Hautaniemi</a:t>
            </a:r>
          </a:p>
        </p:txBody>
      </p:sp>
    </p:spTree>
    <p:extLst>
      <p:ext uri="{BB962C8B-B14F-4D97-AF65-F5344CB8AC3E}">
        <p14:creationId xmlns:p14="http://schemas.microsoft.com/office/powerpoint/2010/main" val="3696569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 och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en-GB"/>
          </a:p>
        </p:txBody>
      </p:sp>
      <p:sp>
        <p:nvSpPr>
          <p:cNvPr id="3" name="Platshållare för innehåll 2"/>
          <p:cNvSpPr>
            <a:spLocks noGrp="1"/>
          </p:cNvSpPr>
          <p:nvPr>
            <p:ph idx="1"/>
          </p:nvPr>
        </p:nvSpPr>
        <p:spPr>
          <a:xfrm>
            <a:off x="803275" y="2059818"/>
            <a:ext cx="5816600" cy="4307418"/>
          </a:xfrm>
        </p:spPr>
        <p:txBody>
          <a:bodyPr/>
          <a:lstStyle>
            <a:lvl1pPr marL="12600" indent="0">
              <a:buNone/>
              <a:defRPr/>
            </a:lvl1pPr>
            <a:lvl2pPr marL="469800" indent="0">
              <a:buNone/>
              <a:defRPr/>
            </a:lvl2pPr>
            <a:lvl3pPr marL="927000" indent="0">
              <a:buNone/>
              <a:defRPr/>
            </a:lvl3pPr>
            <a:lvl4pPr marL="1384200" indent="0">
              <a:buNone/>
              <a:defRPr/>
            </a:lvl4pPr>
            <a:lvl5pPr marL="1841400" indent="0">
              <a:buNone/>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p:cNvSpPr>
            <a:spLocks noGrp="1"/>
          </p:cNvSpPr>
          <p:nvPr>
            <p:ph type="dt" sz="half" idx="10"/>
          </p:nvPr>
        </p:nvSpPr>
        <p:spPr/>
        <p:txBody>
          <a:bodyPr/>
          <a:lstStyle/>
          <a:p>
            <a:fld id="{84CF5FF8-A9AB-4ECE-BD22-015C6EA7BCCA}" type="datetime1">
              <a:rPr lang="sv-SE" smtClean="0"/>
              <a:t>2022-04-29</a:t>
            </a:fld>
            <a:endParaRPr lang="en-GB"/>
          </a:p>
        </p:txBody>
      </p:sp>
      <p:sp>
        <p:nvSpPr>
          <p:cNvPr id="5" name="Platshållare för sidfot 4"/>
          <p:cNvSpPr>
            <a:spLocks noGrp="1"/>
          </p:cNvSpPr>
          <p:nvPr>
            <p:ph type="ftr" sz="quarter" idx="11"/>
          </p:nvPr>
        </p:nvSpPr>
        <p:spPr/>
        <p:txBody>
          <a:body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12"/>
          </p:nvPr>
        </p:nvSpPr>
        <p:spPr/>
        <p:txBody>
          <a:bodyPr/>
          <a:lstStyle/>
          <a:p>
            <a:fld id="{A3EAEDCA-98D4-4724-9772-C653855CA076}" type="slidenum">
              <a:rPr lang="en-GB" smtClean="0"/>
              <a:t>‹#›</a:t>
            </a:fld>
            <a:endParaRPr lang="en-GB"/>
          </a:p>
        </p:txBody>
      </p:sp>
    </p:spTree>
    <p:extLst>
      <p:ext uri="{BB962C8B-B14F-4D97-AF65-F5344CB8AC3E}">
        <p14:creationId xmlns:p14="http://schemas.microsoft.com/office/powerpoint/2010/main" val="14225019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Otsikko ja kaavio" preserve="1" userDrawn="1">
  <p:cSld name="Otsikko ja kaavio">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365B018F-777B-44D1-9664-1407CB8459A7}"/>
              </a:ext>
            </a:extLst>
          </p:cNvPr>
          <p:cNvSpPr>
            <a:spLocks noGrp="1"/>
          </p:cNvSpPr>
          <p:nvPr>
            <p:ph type="title" hasCustomPrompt="1"/>
          </p:nvPr>
        </p:nvSpPr>
        <p:spPr/>
        <p:txBody>
          <a:bodyPr/>
          <a:lstStyle>
            <a:lvl1pPr>
              <a:defRPr/>
            </a:lvl1pPr>
          </a:lstStyle>
          <a:p>
            <a:r>
              <a:rPr lang="fi-FI" noProof="0"/>
              <a:t>Graafisivu</a:t>
            </a:r>
            <a:br>
              <a:rPr lang="fi-FI" noProof="0"/>
            </a:br>
            <a:r>
              <a:rPr lang="fi-FI"/>
              <a:t>Otsikon pituus korkeintaan kaksi riviä</a:t>
            </a:r>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60330"/>
            <a:ext cx="3827881" cy="4085499"/>
          </a:xfrm>
        </p:spPr>
        <p:txBody>
          <a:bodyPr/>
          <a:lstStyle>
            <a:lvl1pPr>
              <a:defRPr sz="2200"/>
            </a:lvl1pPr>
          </a:lstStyle>
          <a:p>
            <a:pPr lvl="0"/>
            <a:r>
              <a:rPr lang="en-GB" err="1"/>
              <a:t>Värejä</a:t>
            </a:r>
            <a:r>
              <a:rPr lang="en-GB"/>
              <a:t> </a:t>
            </a:r>
            <a:r>
              <a:rPr lang="en-GB" err="1"/>
              <a:t>käytetään</a:t>
            </a:r>
            <a:r>
              <a:rPr lang="en-GB"/>
              <a:t> </a:t>
            </a:r>
            <a:r>
              <a:rPr lang="en-GB" err="1"/>
              <a:t>malliesimerkin</a:t>
            </a:r>
            <a:r>
              <a:rPr lang="en-GB"/>
              <a:t> </a:t>
            </a:r>
            <a:r>
              <a:rPr lang="en-GB" err="1"/>
              <a:t>järjestyksessä</a:t>
            </a:r>
            <a:endParaRPr lang="en-GB"/>
          </a:p>
          <a:p>
            <a:pPr lvl="1"/>
            <a:r>
              <a:rPr lang="en-GB"/>
              <a:t>Second level</a:t>
            </a:r>
          </a:p>
          <a:p>
            <a:pPr lvl="2"/>
            <a:r>
              <a:rPr lang="en-GB"/>
              <a:t>Third level</a:t>
            </a:r>
          </a:p>
          <a:p>
            <a:pPr lvl="3"/>
            <a:r>
              <a:rPr lang="en-GB"/>
              <a:t>Fourth level</a:t>
            </a:r>
          </a:p>
          <a:p>
            <a:pPr lvl="4"/>
            <a:r>
              <a:rPr lang="en-GB"/>
              <a:t>Fifth level</a:t>
            </a:r>
            <a:endParaRPr lang="fi-FI"/>
          </a:p>
        </p:txBody>
      </p:sp>
      <p:sp>
        <p:nvSpPr>
          <p:cNvPr id="4" name="Kaavion paikkamerkki 3">
            <a:extLst>
              <a:ext uri="{FF2B5EF4-FFF2-40B4-BE49-F238E27FC236}">
                <a16:creationId xmlns:a16="http://schemas.microsoft.com/office/drawing/2014/main" id="{E32C4822-3ED1-4503-A322-1C32778E2B1A}"/>
              </a:ext>
            </a:extLst>
          </p:cNvPr>
          <p:cNvSpPr>
            <a:spLocks noGrp="1"/>
          </p:cNvSpPr>
          <p:nvPr>
            <p:ph type="chart" sz="quarter" idx="17"/>
          </p:nvPr>
        </p:nvSpPr>
        <p:spPr>
          <a:xfrm>
            <a:off x="4866468" y="1860550"/>
            <a:ext cx="6692117" cy="4084638"/>
          </a:xfrm>
        </p:spPr>
        <p:txBody>
          <a:bodyPr/>
          <a:lstStyle/>
          <a:p>
            <a:r>
              <a:rPr lang="fi-FI"/>
              <a:t>Lisää kaavio napsauttamalla kuvaketta</a:t>
            </a:r>
          </a:p>
        </p:txBody>
      </p:sp>
      <p:sp>
        <p:nvSpPr>
          <p:cNvPr id="8" name="Dian numeron paikkamerkki 5">
            <a:extLst>
              <a:ext uri="{FF2B5EF4-FFF2-40B4-BE49-F238E27FC236}">
                <a16:creationId xmlns:a16="http://schemas.microsoft.com/office/drawing/2014/main" id="{B133760A-D9BD-4C93-958B-C47029D5F0A2}"/>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9" name="Päivämäärän paikkamerkki 3">
            <a:extLst>
              <a:ext uri="{FF2B5EF4-FFF2-40B4-BE49-F238E27FC236}">
                <a16:creationId xmlns:a16="http://schemas.microsoft.com/office/drawing/2014/main" id="{232B50DE-A870-4680-8BF1-626B59A71F9A}"/>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26.4.2022   |   </a:t>
            </a:r>
          </a:p>
        </p:txBody>
      </p:sp>
      <p:sp>
        <p:nvSpPr>
          <p:cNvPr id="10" name="Alatunnisteen paikkamerkki 4">
            <a:extLst>
              <a:ext uri="{FF2B5EF4-FFF2-40B4-BE49-F238E27FC236}">
                <a16:creationId xmlns:a16="http://schemas.microsoft.com/office/drawing/2014/main" id="{660E423A-B2D8-4B91-B7C0-AB18B43AB211}"/>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Päivi Hautaniemi</a:t>
            </a:r>
          </a:p>
        </p:txBody>
      </p:sp>
    </p:spTree>
    <p:extLst>
      <p:ext uri="{BB962C8B-B14F-4D97-AF65-F5344CB8AC3E}">
        <p14:creationId xmlns:p14="http://schemas.microsoft.com/office/powerpoint/2010/main" val="2618259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aulukko" preserve="1" userDrawn="1">
  <p:cSld name="Taulukko">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p:txBody>
          <a:bodyPr/>
          <a:lstStyle>
            <a:lvl1pPr>
              <a:defRPr/>
            </a:lvl1pPr>
          </a:lstStyle>
          <a:p>
            <a:r>
              <a:rPr lang="en-GB" err="1"/>
              <a:t>Taulukkosivu</a:t>
            </a:r>
            <a:br>
              <a:rPr lang="en-GB"/>
            </a:br>
            <a:r>
              <a:rPr lang="fi-FI"/>
              <a:t>Otsikon pituus korkeintaan kaksi riviä</a:t>
            </a:r>
          </a:p>
        </p:txBody>
      </p:sp>
      <p:sp>
        <p:nvSpPr>
          <p:cNvPr id="3" name="Taulukon paikkamerkki 2">
            <a:extLst>
              <a:ext uri="{FF2B5EF4-FFF2-40B4-BE49-F238E27FC236}">
                <a16:creationId xmlns:a16="http://schemas.microsoft.com/office/drawing/2014/main" id="{E46430B6-E098-40A9-A388-1C65D76FE095}"/>
              </a:ext>
            </a:extLst>
          </p:cNvPr>
          <p:cNvSpPr>
            <a:spLocks noGrp="1"/>
          </p:cNvSpPr>
          <p:nvPr>
            <p:ph type="tbl" sz="quarter" idx="14"/>
          </p:nvPr>
        </p:nvSpPr>
        <p:spPr>
          <a:xfrm>
            <a:off x="922338" y="1857375"/>
            <a:ext cx="10636236" cy="4087813"/>
          </a:xfrm>
        </p:spPr>
        <p:txBody>
          <a:bodyPr/>
          <a:lstStyle/>
          <a:p>
            <a:r>
              <a:rPr lang="fi-FI"/>
              <a:t>Lisää taulukko napsauttamalla kuvaketta</a:t>
            </a:r>
          </a:p>
        </p:txBody>
      </p:sp>
      <p:sp>
        <p:nvSpPr>
          <p:cNvPr id="7" name="Dian numeron paikkamerkki 5">
            <a:extLst>
              <a:ext uri="{FF2B5EF4-FFF2-40B4-BE49-F238E27FC236}">
                <a16:creationId xmlns:a16="http://schemas.microsoft.com/office/drawing/2014/main" id="{7027DE1D-8E91-406F-8B96-045A387C48E3}"/>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8" name="Päivämäärän paikkamerkki 3">
            <a:extLst>
              <a:ext uri="{FF2B5EF4-FFF2-40B4-BE49-F238E27FC236}">
                <a16:creationId xmlns:a16="http://schemas.microsoft.com/office/drawing/2014/main" id="{E58D47DE-4D0E-4225-AD7A-47FB6CC38850}"/>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26.4.2022   |   </a:t>
            </a:r>
          </a:p>
        </p:txBody>
      </p:sp>
      <p:sp>
        <p:nvSpPr>
          <p:cNvPr id="9" name="Alatunnisteen paikkamerkki 4">
            <a:extLst>
              <a:ext uri="{FF2B5EF4-FFF2-40B4-BE49-F238E27FC236}">
                <a16:creationId xmlns:a16="http://schemas.microsoft.com/office/drawing/2014/main" id="{34D358F0-BE1E-4ABA-A0E1-A93C9E529D3F}"/>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Päivi Hautaniemi</a:t>
            </a:r>
          </a:p>
        </p:txBody>
      </p:sp>
    </p:spTree>
    <p:extLst>
      <p:ext uri="{BB962C8B-B14F-4D97-AF65-F5344CB8AC3E}">
        <p14:creationId xmlns:p14="http://schemas.microsoft.com/office/powerpoint/2010/main" val="4161833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Kuvatekstillinen kuva" preserve="1" userDrawn="1">
  <p:cSld name="Kuvatekstillinen kuva">
    <p:spTree>
      <p:nvGrpSpPr>
        <p:cNvPr id="1" name=""/>
        <p:cNvGrpSpPr/>
        <p:nvPr/>
      </p:nvGrpSpPr>
      <p:grpSpPr>
        <a:xfrm>
          <a:off x="0" y="0"/>
          <a:ext cx="0" cy="0"/>
          <a:chOff x="0" y="0"/>
          <a:chExt cx="0" cy="0"/>
        </a:xfrm>
      </p:grpSpPr>
      <p:sp>
        <p:nvSpPr>
          <p:cNvPr id="11" name="Otsikko 10">
            <a:extLst>
              <a:ext uri="{FF2B5EF4-FFF2-40B4-BE49-F238E27FC236}">
                <a16:creationId xmlns:a16="http://schemas.microsoft.com/office/drawing/2014/main" id="{E4DF926F-18A8-4323-87C1-43E1E0CBC51F}"/>
              </a:ext>
            </a:extLst>
          </p:cNvPr>
          <p:cNvSpPr>
            <a:spLocks noGrp="1"/>
          </p:cNvSpPr>
          <p:nvPr>
            <p:ph type="title" hasCustomPrompt="1"/>
          </p:nvPr>
        </p:nvSpPr>
        <p:spPr>
          <a:xfrm>
            <a:off x="922350" y="470390"/>
            <a:ext cx="7092366" cy="1119501"/>
          </a:xfrm>
        </p:spPr>
        <p:txBody>
          <a:bodyPr/>
          <a:lstStyle/>
          <a:p>
            <a:r>
              <a:rPr lang="fi-FI"/>
              <a:t>Tekstisivu kapealla kuvalla</a:t>
            </a:r>
            <a:br>
              <a:rPr lang="fi-FI"/>
            </a:br>
            <a:r>
              <a:rPr lang="fi-FI"/>
              <a:t>ja lyhyellä otsikolla</a:t>
            </a:r>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56630"/>
            <a:ext cx="7092366" cy="4089200"/>
          </a:xfrm>
        </p:spPr>
        <p:txBody>
          <a:bodyPr/>
          <a:lstStyle>
            <a:lvl1pPr>
              <a:defRPr/>
            </a:lvl1pPr>
          </a:lstStyle>
          <a:p>
            <a:pPr lvl="0"/>
            <a:r>
              <a:rPr lang="fi-FI"/>
              <a:t>Esityksen tekstisisältö tulee aina tiivistää mahdollisimman lyhyeksi.</a:t>
            </a:r>
            <a:br>
              <a:rPr lang="fi-FI"/>
            </a:br>
            <a:r>
              <a:rPr lang="fi-FI"/>
              <a:t>Käytä laadukkaita kuvia</a:t>
            </a:r>
            <a:br>
              <a:rPr lang="fi-FI"/>
            </a:br>
            <a:r>
              <a:rPr lang="fi-FI"/>
              <a:t>Vältä tiedostokooltaan isoja kuvia, jotta esityksestä ei tule liian raskas.</a:t>
            </a:r>
            <a:br>
              <a:rPr lang="fi-FI"/>
            </a:br>
            <a:r>
              <a:rPr lang="fi-FI"/>
              <a:t>Sivun tulee olla helposti silmäiltävissä ja teksti koon tulee olla luettavissa</a:t>
            </a:r>
          </a:p>
          <a:p>
            <a:pPr lvl="1"/>
            <a:r>
              <a:rPr lang="en-GB"/>
              <a:t>Second level</a:t>
            </a:r>
          </a:p>
          <a:p>
            <a:pPr lvl="2"/>
            <a:r>
              <a:rPr lang="en-GB"/>
              <a:t>Third level</a:t>
            </a:r>
          </a:p>
          <a:p>
            <a:pPr lvl="3"/>
            <a:r>
              <a:rPr lang="en-GB"/>
              <a:t>Fourth level</a:t>
            </a:r>
          </a:p>
          <a:p>
            <a:pPr lvl="4"/>
            <a:r>
              <a:rPr lang="en-GB"/>
              <a:t>Fifth level</a:t>
            </a:r>
            <a:endParaRPr lang="fi-FI"/>
          </a:p>
        </p:txBody>
      </p:sp>
      <p:sp>
        <p:nvSpPr>
          <p:cNvPr id="8" name="Dian numeron paikkamerkki 5">
            <a:extLst>
              <a:ext uri="{FF2B5EF4-FFF2-40B4-BE49-F238E27FC236}">
                <a16:creationId xmlns:a16="http://schemas.microsoft.com/office/drawing/2014/main" id="{FFD8799F-5DA0-4FBF-A2A7-B65BDEB3BC68}"/>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9" name="Päivämäärän paikkamerkki 3">
            <a:extLst>
              <a:ext uri="{FF2B5EF4-FFF2-40B4-BE49-F238E27FC236}">
                <a16:creationId xmlns:a16="http://schemas.microsoft.com/office/drawing/2014/main" id="{A1F75C40-780C-491C-87BC-6A3B74DBF7BC}"/>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26.4.2022   |   </a:t>
            </a:r>
          </a:p>
        </p:txBody>
      </p:sp>
      <p:sp>
        <p:nvSpPr>
          <p:cNvPr id="15" name="Alatunnisteen paikkamerkki 4">
            <a:extLst>
              <a:ext uri="{FF2B5EF4-FFF2-40B4-BE49-F238E27FC236}">
                <a16:creationId xmlns:a16="http://schemas.microsoft.com/office/drawing/2014/main" id="{A3A71661-0388-4C74-813D-CFA192A7333E}"/>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Päivi Hautaniemi</a:t>
            </a:r>
          </a:p>
        </p:txBody>
      </p:sp>
      <p:sp>
        <p:nvSpPr>
          <p:cNvPr id="10" name="Kuvan paikkamerkki 2">
            <a:extLst>
              <a:ext uri="{FF2B5EF4-FFF2-40B4-BE49-F238E27FC236}">
                <a16:creationId xmlns:a16="http://schemas.microsoft.com/office/drawing/2014/main" id="{EE37F6CA-4A02-4DC9-9F8B-1339CABEBCAB}"/>
              </a:ext>
              <a:ext uri="{C183D7F6-B498-43B3-948B-1728B52AA6E4}">
                <adec:decorative xmlns:adec="http://schemas.microsoft.com/office/drawing/2017/decorative" val="1"/>
              </a:ext>
            </a:extLst>
          </p:cNvPr>
          <p:cNvSpPr>
            <a:spLocks noGrp="1"/>
          </p:cNvSpPr>
          <p:nvPr>
            <p:ph type="pic" idx="13" hasCustomPrompt="1"/>
          </p:nvPr>
        </p:nvSpPr>
        <p:spPr>
          <a:xfrm>
            <a:off x="8414654" y="180000"/>
            <a:ext cx="3598545" cy="6498000"/>
          </a:xfr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a:t>
            </a:r>
            <a:br>
              <a:rPr lang="fi-FI"/>
            </a:br>
            <a:r>
              <a:rPr lang="fi-FI"/>
              <a:t>tai valitsemalla </a:t>
            </a:r>
            <a:r>
              <a:rPr lang="fi-FI" err="1"/>
              <a:t>Kameleonin</a:t>
            </a:r>
            <a:r>
              <a:rPr lang="fi-FI"/>
              <a:t> Kuvagalleriasta</a:t>
            </a:r>
            <a:br>
              <a:rPr lang="fi-FI"/>
            </a:br>
            <a:br>
              <a:rPr lang="fi-FI"/>
            </a:br>
            <a:r>
              <a:rPr lang="fi-FI"/>
              <a:t>Voit vaihtaa kuvan Kuvagalleriasta</a:t>
            </a:r>
            <a:br>
              <a:rPr lang="fi-FI"/>
            </a:br>
            <a:r>
              <a:rPr lang="fi-FI"/>
              <a:t>tai poistamalla kuvan ja lisäämällä uuden kuvan napsauttamalla kuvaketta</a:t>
            </a:r>
          </a:p>
        </p:txBody>
      </p:sp>
    </p:spTree>
    <p:extLst>
      <p:ext uri="{BB962C8B-B14F-4D97-AF65-F5344CB8AC3E}">
        <p14:creationId xmlns:p14="http://schemas.microsoft.com/office/powerpoint/2010/main" val="4227336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Kuvatekstilliset kuvat" preserve="1" userDrawn="1">
  <p:cSld name="Kuvatekstilliset kuvat">
    <p:spTree>
      <p:nvGrpSpPr>
        <p:cNvPr id="1" name=""/>
        <p:cNvGrpSpPr/>
        <p:nvPr/>
      </p:nvGrpSpPr>
      <p:grpSpPr>
        <a:xfrm>
          <a:off x="0" y="0"/>
          <a:ext cx="0" cy="0"/>
          <a:chOff x="0" y="0"/>
          <a:chExt cx="0" cy="0"/>
        </a:xfrm>
      </p:grpSpPr>
      <p:sp>
        <p:nvSpPr>
          <p:cNvPr id="11" name="Otsikko 10">
            <a:extLst>
              <a:ext uri="{FF2B5EF4-FFF2-40B4-BE49-F238E27FC236}">
                <a16:creationId xmlns:a16="http://schemas.microsoft.com/office/drawing/2014/main" id="{E4DF926F-18A8-4323-87C1-43E1E0CBC51F}"/>
              </a:ext>
            </a:extLst>
          </p:cNvPr>
          <p:cNvSpPr>
            <a:spLocks noGrp="1"/>
          </p:cNvSpPr>
          <p:nvPr>
            <p:ph type="title" hasCustomPrompt="1"/>
          </p:nvPr>
        </p:nvSpPr>
        <p:spPr>
          <a:xfrm>
            <a:off x="922350" y="470390"/>
            <a:ext cx="7092366" cy="1119501"/>
          </a:xfrm>
        </p:spPr>
        <p:txBody>
          <a:bodyPr/>
          <a:lstStyle/>
          <a:p>
            <a:r>
              <a:rPr lang="fi-FI" noProof="0"/>
              <a:t>Tekstisivu kahdella kuvalla</a:t>
            </a:r>
            <a:br>
              <a:rPr lang="fi-FI" noProof="0"/>
            </a:br>
            <a:r>
              <a:rPr lang="fi-FI" noProof="0"/>
              <a:t>ja lyhyellä otsikolla</a:t>
            </a:r>
            <a:endParaRPr lang="fi-FI"/>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56630"/>
            <a:ext cx="7092366" cy="4089200"/>
          </a:xfrm>
        </p:spPr>
        <p:txBody>
          <a:bodyPr/>
          <a:lstStyle>
            <a:lvl1pPr>
              <a:defRPr/>
            </a:lvl1pPr>
          </a:lstStyle>
          <a:p>
            <a:pPr lvl="0"/>
            <a:r>
              <a:rPr lang="fi-FI"/>
              <a:t>Esityksen tekstisisältö tulee aina tiivistää mahdollisimman lyhyeksi.</a:t>
            </a:r>
            <a:br>
              <a:rPr lang="fi-FI"/>
            </a:br>
            <a:r>
              <a:rPr lang="fi-FI"/>
              <a:t>Käytä laadukkaita kuvia</a:t>
            </a:r>
            <a:br>
              <a:rPr lang="fi-FI"/>
            </a:br>
            <a:r>
              <a:rPr lang="fi-FI"/>
              <a:t>Vältä tiedostokooltaan isoja kuvia, jotta esityksestä ei tule liian raskas.</a:t>
            </a:r>
            <a:br>
              <a:rPr lang="fi-FI"/>
            </a:br>
            <a:r>
              <a:rPr lang="fi-FI"/>
              <a:t>Sivun tulee olla helposti silmäiltävissä ja teksti koon tulee olla luettavissa</a:t>
            </a:r>
          </a:p>
          <a:p>
            <a:pPr lvl="1"/>
            <a:r>
              <a:rPr lang="en-GB"/>
              <a:t>Second level</a:t>
            </a:r>
          </a:p>
          <a:p>
            <a:pPr lvl="2"/>
            <a:r>
              <a:rPr lang="en-GB"/>
              <a:t>Third level</a:t>
            </a:r>
          </a:p>
          <a:p>
            <a:pPr lvl="3"/>
            <a:r>
              <a:rPr lang="en-GB"/>
              <a:t>Fourth level</a:t>
            </a:r>
          </a:p>
          <a:p>
            <a:pPr lvl="4"/>
            <a:r>
              <a:rPr lang="en-GB"/>
              <a:t>Fifth level</a:t>
            </a:r>
            <a:endParaRPr lang="fi-FI"/>
          </a:p>
        </p:txBody>
      </p:sp>
      <p:sp>
        <p:nvSpPr>
          <p:cNvPr id="15" name="Kuvan paikkamerkki 2">
            <a:extLst>
              <a:ext uri="{FF2B5EF4-FFF2-40B4-BE49-F238E27FC236}">
                <a16:creationId xmlns:a16="http://schemas.microsoft.com/office/drawing/2014/main" id="{FC94B34F-00DC-4D30-896A-91EC80CD3F36}"/>
              </a:ext>
              <a:ext uri="{C183D7F6-B498-43B3-948B-1728B52AA6E4}">
                <adec:decorative xmlns:adec="http://schemas.microsoft.com/office/drawing/2017/decorative" val="1"/>
              </a:ext>
            </a:extLst>
          </p:cNvPr>
          <p:cNvSpPr>
            <a:spLocks noGrp="1"/>
          </p:cNvSpPr>
          <p:nvPr>
            <p:ph type="pic" idx="17" hasCustomPrompt="1"/>
          </p:nvPr>
        </p:nvSpPr>
        <p:spPr>
          <a:xfrm>
            <a:off x="8427599" y="180000"/>
            <a:ext cx="3585600" cy="3155370"/>
          </a:xfr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a:t>
            </a:r>
            <a:br>
              <a:rPr lang="fi-FI"/>
            </a:br>
            <a:r>
              <a:rPr lang="fi-FI"/>
              <a:t>tai valitsemalla </a:t>
            </a:r>
            <a:r>
              <a:rPr lang="fi-FI" err="1"/>
              <a:t>Kameleonin</a:t>
            </a:r>
            <a:r>
              <a:rPr lang="fi-FI"/>
              <a:t> Kuvagalleriasta</a:t>
            </a:r>
            <a:br>
              <a:rPr lang="fi-FI"/>
            </a:br>
            <a:br>
              <a:rPr lang="fi-FI"/>
            </a:br>
            <a:r>
              <a:rPr lang="fi-FI"/>
              <a:t>Voit vaihtaa kuvan Kuvagalleriasta</a:t>
            </a:r>
            <a:br>
              <a:rPr lang="fi-FI"/>
            </a:br>
            <a:r>
              <a:rPr lang="fi-FI"/>
              <a:t>tai poistamalla kuvan ja lisäämällä uuden kuvan napsauttamalla kuvaketta</a:t>
            </a:r>
          </a:p>
        </p:txBody>
      </p:sp>
      <p:sp>
        <p:nvSpPr>
          <p:cNvPr id="10" name="Kuvan paikkamerkki 2">
            <a:extLst>
              <a:ext uri="{FF2B5EF4-FFF2-40B4-BE49-F238E27FC236}">
                <a16:creationId xmlns:a16="http://schemas.microsoft.com/office/drawing/2014/main" id="{EE37F6CA-4A02-4DC9-9F8B-1339CABEBCAB}"/>
              </a:ext>
              <a:ext uri="{C183D7F6-B498-43B3-948B-1728B52AA6E4}">
                <adec:decorative xmlns:adec="http://schemas.microsoft.com/office/drawing/2017/decorative" val="1"/>
              </a:ext>
            </a:extLst>
          </p:cNvPr>
          <p:cNvSpPr>
            <a:spLocks noGrp="1"/>
          </p:cNvSpPr>
          <p:nvPr>
            <p:ph type="pic" idx="13" hasCustomPrompt="1"/>
          </p:nvPr>
        </p:nvSpPr>
        <p:spPr>
          <a:xfrm>
            <a:off x="8427599" y="3527892"/>
            <a:ext cx="3585600" cy="3150108"/>
          </a:xfr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a:t>
            </a:r>
            <a:br>
              <a:rPr lang="fi-FI"/>
            </a:br>
            <a:r>
              <a:rPr lang="fi-FI"/>
              <a:t>tai valitsemalla </a:t>
            </a:r>
            <a:r>
              <a:rPr lang="fi-FI" err="1"/>
              <a:t>Kameleonin</a:t>
            </a:r>
            <a:r>
              <a:rPr lang="fi-FI"/>
              <a:t> Kuvagalleriasta</a:t>
            </a:r>
            <a:br>
              <a:rPr lang="fi-FI"/>
            </a:br>
            <a:br>
              <a:rPr lang="fi-FI"/>
            </a:br>
            <a:r>
              <a:rPr lang="fi-FI"/>
              <a:t>Voit vaihtaa kuvan Kuvagalleriasta</a:t>
            </a:r>
            <a:br>
              <a:rPr lang="fi-FI"/>
            </a:br>
            <a:r>
              <a:rPr lang="fi-FI"/>
              <a:t>tai poistamalla kuvan ja lisäämällä uuden kuvan napsauttamalla kuvaketta</a:t>
            </a:r>
          </a:p>
        </p:txBody>
      </p:sp>
      <p:sp>
        <p:nvSpPr>
          <p:cNvPr id="9" name="Dian numeron paikkamerkki 5">
            <a:extLst>
              <a:ext uri="{FF2B5EF4-FFF2-40B4-BE49-F238E27FC236}">
                <a16:creationId xmlns:a16="http://schemas.microsoft.com/office/drawing/2014/main" id="{F7012681-75A7-47D7-8444-7D3FBA4E5069}"/>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16" name="Päivämäärän paikkamerkki 3">
            <a:extLst>
              <a:ext uri="{FF2B5EF4-FFF2-40B4-BE49-F238E27FC236}">
                <a16:creationId xmlns:a16="http://schemas.microsoft.com/office/drawing/2014/main" id="{E0FBAD70-7499-4E1B-A701-03775CBA2895}"/>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26.4.2022   |   </a:t>
            </a:r>
          </a:p>
        </p:txBody>
      </p:sp>
      <p:sp>
        <p:nvSpPr>
          <p:cNvPr id="17" name="Alatunnisteen paikkamerkki 4">
            <a:extLst>
              <a:ext uri="{FF2B5EF4-FFF2-40B4-BE49-F238E27FC236}">
                <a16:creationId xmlns:a16="http://schemas.microsoft.com/office/drawing/2014/main" id="{0AB49502-F625-40AF-9F75-9B1F2A7FD30A}"/>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Päivi Hautaniemi</a:t>
            </a:r>
          </a:p>
        </p:txBody>
      </p:sp>
    </p:spTree>
    <p:extLst>
      <p:ext uri="{BB962C8B-B14F-4D97-AF65-F5344CB8AC3E}">
        <p14:creationId xmlns:p14="http://schemas.microsoft.com/office/powerpoint/2010/main" val="1953370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Kuvatekstillinen kuva iso" preserve="1" userDrawn="1">
  <p:cSld name="Kuvatekstillinen kuva iso">
    <p:spTree>
      <p:nvGrpSpPr>
        <p:cNvPr id="1" name=""/>
        <p:cNvGrpSpPr/>
        <p:nvPr/>
      </p:nvGrpSpPr>
      <p:grpSpPr>
        <a:xfrm>
          <a:off x="0" y="0"/>
          <a:ext cx="0" cy="0"/>
          <a:chOff x="0" y="0"/>
          <a:chExt cx="0" cy="0"/>
        </a:xfrm>
      </p:grpSpPr>
      <p:sp>
        <p:nvSpPr>
          <p:cNvPr id="11" name="Otsikko 10">
            <a:extLst>
              <a:ext uri="{FF2B5EF4-FFF2-40B4-BE49-F238E27FC236}">
                <a16:creationId xmlns:a16="http://schemas.microsoft.com/office/drawing/2014/main" id="{E4DF926F-18A8-4323-87C1-43E1E0CBC51F}"/>
              </a:ext>
            </a:extLst>
          </p:cNvPr>
          <p:cNvSpPr>
            <a:spLocks noGrp="1"/>
          </p:cNvSpPr>
          <p:nvPr>
            <p:ph type="title" hasCustomPrompt="1"/>
          </p:nvPr>
        </p:nvSpPr>
        <p:spPr>
          <a:xfrm>
            <a:off x="922350" y="470390"/>
            <a:ext cx="5224068" cy="1119501"/>
          </a:xfrm>
        </p:spPr>
        <p:txBody>
          <a:bodyPr/>
          <a:lstStyle/>
          <a:p>
            <a:r>
              <a:rPr lang="fi-FI" noProof="0"/>
              <a:t>Tekstisivu isolla  kuvalla</a:t>
            </a:r>
            <a:endParaRPr lang="fi-FI"/>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56630"/>
            <a:ext cx="5224068" cy="4089200"/>
          </a:xfrm>
        </p:spPr>
        <p:txBody>
          <a:bodyPr/>
          <a:lstStyle>
            <a:lvl1pPr>
              <a:defRPr sz="2200"/>
            </a:lvl1pPr>
          </a:lstStyle>
          <a:p>
            <a:pPr lvl="0"/>
            <a:r>
              <a:rPr lang="fi-FI"/>
              <a:t>Kuvasivun teksti tulee tiivistää lyhyeksi.</a:t>
            </a:r>
            <a:br>
              <a:rPr lang="fi-FI"/>
            </a:br>
            <a:r>
              <a:rPr lang="fi-FI"/>
              <a:t>Käytä laadukkaita kuvia.</a:t>
            </a:r>
            <a:br>
              <a:rPr lang="fi-FI"/>
            </a:br>
            <a:r>
              <a:rPr lang="fi-FI"/>
              <a:t>Vältä tiedostokooltaan isoja kuvia, jotta esityksestä ei tule liian raskasta.</a:t>
            </a:r>
            <a:br>
              <a:rPr lang="fi-FI"/>
            </a:br>
            <a:r>
              <a:rPr lang="fi-FI"/>
              <a:t>Sivun tulee olla helposti silmäiltävissä ja teksti koon tulee olla luettavissa.</a:t>
            </a:r>
          </a:p>
          <a:p>
            <a:pPr lvl="1"/>
            <a:r>
              <a:rPr lang="en-GB"/>
              <a:t>Second level</a:t>
            </a:r>
          </a:p>
          <a:p>
            <a:pPr lvl="2"/>
            <a:r>
              <a:rPr lang="en-GB"/>
              <a:t>Third level</a:t>
            </a:r>
          </a:p>
          <a:p>
            <a:pPr lvl="3"/>
            <a:r>
              <a:rPr lang="en-GB"/>
              <a:t>Fourth level</a:t>
            </a:r>
          </a:p>
          <a:p>
            <a:pPr lvl="4"/>
            <a:r>
              <a:rPr lang="en-GB"/>
              <a:t>Fifth level</a:t>
            </a:r>
            <a:endParaRPr lang="fi-FI"/>
          </a:p>
        </p:txBody>
      </p:sp>
      <p:sp>
        <p:nvSpPr>
          <p:cNvPr id="10" name="Kuvan paikkamerkki 2">
            <a:extLst>
              <a:ext uri="{FF2B5EF4-FFF2-40B4-BE49-F238E27FC236}">
                <a16:creationId xmlns:a16="http://schemas.microsoft.com/office/drawing/2014/main" id="{EE37F6CA-4A02-4DC9-9F8B-1339CABEBCAB}"/>
              </a:ext>
              <a:ext uri="{C183D7F6-B498-43B3-948B-1728B52AA6E4}">
                <adec:decorative xmlns:adec="http://schemas.microsoft.com/office/drawing/2017/decorative" val="1"/>
              </a:ext>
            </a:extLst>
          </p:cNvPr>
          <p:cNvSpPr>
            <a:spLocks noGrp="1"/>
          </p:cNvSpPr>
          <p:nvPr>
            <p:ph type="pic" idx="13" hasCustomPrompt="1"/>
          </p:nvPr>
        </p:nvSpPr>
        <p:spPr>
          <a:xfrm>
            <a:off x="6428597" y="180000"/>
            <a:ext cx="5584602" cy="6498000"/>
          </a:xfr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a:t>
            </a:r>
            <a:br>
              <a:rPr lang="fi-FI"/>
            </a:br>
            <a:r>
              <a:rPr lang="fi-FI"/>
              <a:t>tai valitsemalla </a:t>
            </a:r>
            <a:r>
              <a:rPr lang="fi-FI" err="1"/>
              <a:t>Kameleonin</a:t>
            </a:r>
            <a:r>
              <a:rPr lang="fi-FI"/>
              <a:t> Kuvagalleriasta</a:t>
            </a:r>
            <a:br>
              <a:rPr lang="fi-FI"/>
            </a:br>
            <a:br>
              <a:rPr lang="fi-FI"/>
            </a:br>
            <a:r>
              <a:rPr lang="fi-FI"/>
              <a:t>Voit vaihtaa kuvan Kuvagalleriasta</a:t>
            </a:r>
            <a:br>
              <a:rPr lang="fi-FI"/>
            </a:br>
            <a:r>
              <a:rPr lang="fi-FI"/>
              <a:t>tai poistamalla kuvan ja lisäämällä uuden kuvan napsauttamalla kuvaketta</a:t>
            </a:r>
          </a:p>
        </p:txBody>
      </p:sp>
      <p:sp>
        <p:nvSpPr>
          <p:cNvPr id="8" name="Dian numeron paikkamerkki 5">
            <a:extLst>
              <a:ext uri="{FF2B5EF4-FFF2-40B4-BE49-F238E27FC236}">
                <a16:creationId xmlns:a16="http://schemas.microsoft.com/office/drawing/2014/main" id="{B5F3AB46-DDE8-48A9-B165-54E07D0B60E7}"/>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9" name="Päivämäärän paikkamerkki 3">
            <a:extLst>
              <a:ext uri="{FF2B5EF4-FFF2-40B4-BE49-F238E27FC236}">
                <a16:creationId xmlns:a16="http://schemas.microsoft.com/office/drawing/2014/main" id="{0AA848AD-B333-42B9-B9E4-08ABFCD612D0}"/>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26.4.2022   |   </a:t>
            </a:r>
          </a:p>
        </p:txBody>
      </p:sp>
      <p:sp>
        <p:nvSpPr>
          <p:cNvPr id="15" name="Alatunnisteen paikkamerkki 4">
            <a:extLst>
              <a:ext uri="{FF2B5EF4-FFF2-40B4-BE49-F238E27FC236}">
                <a16:creationId xmlns:a16="http://schemas.microsoft.com/office/drawing/2014/main" id="{697CFB4B-70A9-4C59-8AFC-86477E70AA8E}"/>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Päivi Hautaniemi</a:t>
            </a:r>
          </a:p>
        </p:txBody>
      </p:sp>
    </p:spTree>
    <p:extLst>
      <p:ext uri="{BB962C8B-B14F-4D97-AF65-F5344CB8AC3E}">
        <p14:creationId xmlns:p14="http://schemas.microsoft.com/office/powerpoint/2010/main" val="1892717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Kuva" preserve="1" userDrawn="1">
  <p:cSld name="Kuva">
    <p:spTree>
      <p:nvGrpSpPr>
        <p:cNvPr id="1" name=""/>
        <p:cNvGrpSpPr/>
        <p:nvPr/>
      </p:nvGrpSpPr>
      <p:grpSpPr>
        <a:xfrm>
          <a:off x="0" y="0"/>
          <a:ext cx="0" cy="0"/>
          <a:chOff x="0" y="0"/>
          <a:chExt cx="0" cy="0"/>
        </a:xfrm>
      </p:grpSpPr>
      <p:sp>
        <p:nvSpPr>
          <p:cNvPr id="10" name="Kuvan paikkamerkki 2">
            <a:extLst>
              <a:ext uri="{FF2B5EF4-FFF2-40B4-BE49-F238E27FC236}">
                <a16:creationId xmlns:a16="http://schemas.microsoft.com/office/drawing/2014/main" id="{EE37F6CA-4A02-4DC9-9F8B-1339CABEBCAB}"/>
              </a:ext>
              <a:ext uri="{C183D7F6-B498-43B3-948B-1728B52AA6E4}">
                <adec:decorative xmlns:adec="http://schemas.microsoft.com/office/drawing/2017/decorative" val="1"/>
              </a:ext>
            </a:extLst>
          </p:cNvPr>
          <p:cNvSpPr>
            <a:spLocks noGrp="1"/>
          </p:cNvSpPr>
          <p:nvPr>
            <p:ph type="pic" idx="13" hasCustomPrompt="1"/>
          </p:nvPr>
        </p:nvSpPr>
        <p:spPr>
          <a:xfrm>
            <a:off x="179999" y="180000"/>
            <a:ext cx="11833200" cy="6498000"/>
          </a:xfr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a:t>
            </a:r>
            <a:br>
              <a:rPr lang="fi-FI"/>
            </a:br>
            <a:r>
              <a:rPr lang="fi-FI"/>
              <a:t>tai valitsemalla </a:t>
            </a:r>
            <a:r>
              <a:rPr lang="fi-FI" err="1"/>
              <a:t>Kameleonin</a:t>
            </a:r>
            <a:r>
              <a:rPr lang="fi-FI"/>
              <a:t> Kuvagalleriasta</a:t>
            </a:r>
            <a:br>
              <a:rPr lang="fi-FI"/>
            </a:br>
            <a:br>
              <a:rPr lang="fi-FI"/>
            </a:br>
            <a:r>
              <a:rPr lang="fi-FI"/>
              <a:t>Voit vaihtaa kuvan Kuvagalleriasta</a:t>
            </a:r>
            <a:br>
              <a:rPr lang="fi-FI"/>
            </a:br>
            <a:r>
              <a:rPr lang="fi-FI"/>
              <a:t>tai poistamalla kuvan ja lisäämällä uuden kuvan napsauttamalla kuvaketta</a:t>
            </a:r>
          </a:p>
        </p:txBody>
      </p:sp>
    </p:spTree>
    <p:extLst>
      <p:ext uri="{BB962C8B-B14F-4D97-AF65-F5344CB8AC3E}">
        <p14:creationId xmlns:p14="http://schemas.microsoft.com/office/powerpoint/2010/main" val="3858272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Sisältö kaarevalla kuvalla" preserve="1" userDrawn="1">
  <p:cSld name="Sisältö kaarevalla kuvalla">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a:xfrm>
            <a:off x="922350" y="470390"/>
            <a:ext cx="6482227" cy="1119501"/>
          </a:xfrm>
        </p:spPr>
        <p:txBody>
          <a:bodyPr/>
          <a:lstStyle/>
          <a:p>
            <a:r>
              <a:rPr lang="en-GB" err="1"/>
              <a:t>Tekstisivu</a:t>
            </a:r>
            <a:r>
              <a:rPr lang="en-GB"/>
              <a:t> </a:t>
            </a:r>
            <a:r>
              <a:rPr lang="en-GB" err="1"/>
              <a:t>isolla</a:t>
            </a:r>
            <a:r>
              <a:rPr lang="en-GB"/>
              <a:t> </a:t>
            </a:r>
            <a:br>
              <a:rPr lang="en-GB"/>
            </a:br>
            <a:r>
              <a:rPr lang="en-GB" err="1"/>
              <a:t>kaarevalla</a:t>
            </a:r>
            <a:r>
              <a:rPr lang="en-GB"/>
              <a:t> </a:t>
            </a:r>
            <a:r>
              <a:rPr lang="en-GB" err="1"/>
              <a:t>kuvalla</a:t>
            </a:r>
            <a:r>
              <a:rPr lang="en-GB"/>
              <a:t> </a:t>
            </a:r>
            <a:endParaRPr lang="fi-FI"/>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56630"/>
            <a:ext cx="6482227" cy="4089200"/>
          </a:xfrm>
        </p:spPr>
        <p:txBody>
          <a:bodyPr/>
          <a:lstStyle>
            <a:lvl1pPr>
              <a:defRPr/>
            </a:lvl1pPr>
          </a:lstStyle>
          <a:p>
            <a:pPr lvl="0"/>
            <a:r>
              <a:rPr lang="fi-FI"/>
              <a:t>Esityksen tekstisisältö tulee aina tiivistää mahdollisimman lyhyeksi.</a:t>
            </a:r>
            <a:br>
              <a:rPr lang="fi-FI"/>
            </a:br>
            <a:r>
              <a:rPr lang="fi-FI"/>
              <a:t>Käytä laadukkaita kuvia</a:t>
            </a:r>
            <a:br>
              <a:rPr lang="fi-FI"/>
            </a:br>
            <a:r>
              <a:rPr lang="fi-FI"/>
              <a:t>Vältä tiedostokooltaan isoja kuvia, jotta esityksestä ei tule liian raskas.</a:t>
            </a:r>
            <a:br>
              <a:rPr lang="fi-FI"/>
            </a:br>
            <a:r>
              <a:rPr lang="fi-FI"/>
              <a:t>Sivun tulee olla helposti silmäiltävissä ja teksti koon tulee olla luettavissa</a:t>
            </a:r>
          </a:p>
          <a:p>
            <a:pPr lvl="1"/>
            <a:r>
              <a:rPr lang="en-GB"/>
              <a:t>Second level</a:t>
            </a:r>
          </a:p>
          <a:p>
            <a:pPr lvl="2"/>
            <a:r>
              <a:rPr lang="en-GB"/>
              <a:t>Third level</a:t>
            </a:r>
          </a:p>
          <a:p>
            <a:pPr lvl="3"/>
            <a:r>
              <a:rPr lang="en-GB"/>
              <a:t>Fourth level</a:t>
            </a:r>
          </a:p>
          <a:p>
            <a:pPr lvl="4"/>
            <a:r>
              <a:rPr lang="en-GB"/>
              <a:t>Fifth level</a:t>
            </a:r>
            <a:endParaRPr lang="fi-FI"/>
          </a:p>
        </p:txBody>
      </p:sp>
      <p:sp>
        <p:nvSpPr>
          <p:cNvPr id="9" name="Kuvan paikkamerkki 2">
            <a:extLst>
              <a:ext uri="{FF2B5EF4-FFF2-40B4-BE49-F238E27FC236}">
                <a16:creationId xmlns:a16="http://schemas.microsoft.com/office/drawing/2014/main" id="{46D95DB7-D85C-4651-BD0D-60A1252BAAEB}"/>
              </a:ext>
              <a:ext uri="{C183D7F6-B498-43B3-948B-1728B52AA6E4}">
                <adec:decorative xmlns:adec="http://schemas.microsoft.com/office/drawing/2017/decorative" val="1"/>
              </a:ext>
            </a:extLst>
          </p:cNvPr>
          <p:cNvSpPr>
            <a:spLocks noGrp="1" noChangeAspect="1"/>
          </p:cNvSpPr>
          <p:nvPr>
            <p:ph type="pic" idx="13" hasCustomPrompt="1"/>
          </p:nvPr>
        </p:nvSpPr>
        <p:spPr>
          <a:xfrm>
            <a:off x="7603725" y="180000"/>
            <a:ext cx="4409474" cy="6498000"/>
          </a:xfrm>
          <a:custGeom>
            <a:avLst/>
            <a:gdLst>
              <a:gd name="connsiteX0" fmla="*/ 0 w 4408944"/>
              <a:gd name="connsiteY0" fmla="*/ 0 h 6488358"/>
              <a:gd name="connsiteX1" fmla="*/ 4408944 w 4408944"/>
              <a:gd name="connsiteY1" fmla="*/ 0 h 6488358"/>
              <a:gd name="connsiteX2" fmla="*/ 4408944 w 4408944"/>
              <a:gd name="connsiteY2" fmla="*/ 6488358 h 6488358"/>
              <a:gd name="connsiteX3" fmla="*/ 0 w 4408944"/>
              <a:gd name="connsiteY3" fmla="*/ 6488358 h 6488358"/>
              <a:gd name="connsiteX4" fmla="*/ 0 w 4408944"/>
              <a:gd name="connsiteY4" fmla="*/ 0 h 6488358"/>
              <a:gd name="connsiteX0" fmla="*/ 0 w 4408944"/>
              <a:gd name="connsiteY0" fmla="*/ 0 h 6488358"/>
              <a:gd name="connsiteX1" fmla="*/ 4408944 w 4408944"/>
              <a:gd name="connsiteY1" fmla="*/ 0 h 6488358"/>
              <a:gd name="connsiteX2" fmla="*/ 4408944 w 4408944"/>
              <a:gd name="connsiteY2" fmla="*/ 6488358 h 6488358"/>
              <a:gd name="connsiteX3" fmla="*/ 1709367 w 4408944"/>
              <a:gd name="connsiteY3" fmla="*/ 6487088 h 6488358"/>
              <a:gd name="connsiteX4" fmla="*/ 0 w 4408944"/>
              <a:gd name="connsiteY4" fmla="*/ 6488358 h 6488358"/>
              <a:gd name="connsiteX5" fmla="*/ 0 w 4408944"/>
              <a:gd name="connsiteY5" fmla="*/ 0 h 6488358"/>
              <a:gd name="connsiteX0" fmla="*/ 0 w 4408944"/>
              <a:gd name="connsiteY0" fmla="*/ 0 h 6488358"/>
              <a:gd name="connsiteX1" fmla="*/ 4408944 w 4408944"/>
              <a:gd name="connsiteY1" fmla="*/ 0 h 6488358"/>
              <a:gd name="connsiteX2" fmla="*/ 4408944 w 4408944"/>
              <a:gd name="connsiteY2" fmla="*/ 6488358 h 6488358"/>
              <a:gd name="connsiteX3" fmla="*/ 1709367 w 4408944"/>
              <a:gd name="connsiteY3" fmla="*/ 6487088 h 6488358"/>
              <a:gd name="connsiteX4" fmla="*/ 0 w 4408944"/>
              <a:gd name="connsiteY4" fmla="*/ 0 h 6488358"/>
              <a:gd name="connsiteX0" fmla="*/ 0 w 4408944"/>
              <a:gd name="connsiteY0" fmla="*/ 0 h 6488358"/>
              <a:gd name="connsiteX1" fmla="*/ 4408944 w 4408944"/>
              <a:gd name="connsiteY1" fmla="*/ 0 h 6488358"/>
              <a:gd name="connsiteX2" fmla="*/ 4408944 w 4408944"/>
              <a:gd name="connsiteY2" fmla="*/ 6488358 h 6488358"/>
              <a:gd name="connsiteX3" fmla="*/ 1709367 w 4408944"/>
              <a:gd name="connsiteY3" fmla="*/ 6487088 h 6488358"/>
              <a:gd name="connsiteX4" fmla="*/ 991817 w 4408944"/>
              <a:gd name="connsiteY4" fmla="*/ 3753413 h 6488358"/>
              <a:gd name="connsiteX5" fmla="*/ 0 w 4408944"/>
              <a:gd name="connsiteY5" fmla="*/ 0 h 6488358"/>
              <a:gd name="connsiteX0" fmla="*/ 144667 w 4553611"/>
              <a:gd name="connsiteY0" fmla="*/ 0 h 6488358"/>
              <a:gd name="connsiteX1" fmla="*/ 4553611 w 4553611"/>
              <a:gd name="connsiteY1" fmla="*/ 0 h 6488358"/>
              <a:gd name="connsiteX2" fmla="*/ 4553611 w 4553611"/>
              <a:gd name="connsiteY2" fmla="*/ 6488358 h 6488358"/>
              <a:gd name="connsiteX3" fmla="*/ 1854034 w 4553611"/>
              <a:gd name="connsiteY3" fmla="*/ 6487088 h 6488358"/>
              <a:gd name="connsiteX4" fmla="*/ 1136484 w 4553611"/>
              <a:gd name="connsiteY4" fmla="*/ 3753413 h 6488358"/>
              <a:gd name="connsiteX5" fmla="*/ 144667 w 4553611"/>
              <a:gd name="connsiteY5" fmla="*/ 0 h 6488358"/>
              <a:gd name="connsiteX0" fmla="*/ 214805 w 4623749"/>
              <a:gd name="connsiteY0" fmla="*/ 0 h 6488358"/>
              <a:gd name="connsiteX1" fmla="*/ 4623749 w 4623749"/>
              <a:gd name="connsiteY1" fmla="*/ 0 h 6488358"/>
              <a:gd name="connsiteX2" fmla="*/ 4623749 w 4623749"/>
              <a:gd name="connsiteY2" fmla="*/ 6488358 h 6488358"/>
              <a:gd name="connsiteX3" fmla="*/ 1924172 w 4623749"/>
              <a:gd name="connsiteY3" fmla="*/ 6487088 h 6488358"/>
              <a:gd name="connsiteX4" fmla="*/ 641472 w 4623749"/>
              <a:gd name="connsiteY4" fmla="*/ 4051863 h 6488358"/>
              <a:gd name="connsiteX5" fmla="*/ 214805 w 4623749"/>
              <a:gd name="connsiteY5" fmla="*/ 0 h 6488358"/>
              <a:gd name="connsiteX0" fmla="*/ 214805 w 4623749"/>
              <a:gd name="connsiteY0" fmla="*/ 0 h 6488358"/>
              <a:gd name="connsiteX1" fmla="*/ 4623749 w 4623749"/>
              <a:gd name="connsiteY1" fmla="*/ 0 h 6488358"/>
              <a:gd name="connsiteX2" fmla="*/ 4623749 w 4623749"/>
              <a:gd name="connsiteY2" fmla="*/ 6488358 h 6488358"/>
              <a:gd name="connsiteX3" fmla="*/ 1924172 w 4623749"/>
              <a:gd name="connsiteY3" fmla="*/ 6487088 h 6488358"/>
              <a:gd name="connsiteX4" fmla="*/ 641472 w 4623749"/>
              <a:gd name="connsiteY4" fmla="*/ 4051863 h 6488358"/>
              <a:gd name="connsiteX5" fmla="*/ 214805 w 4623749"/>
              <a:gd name="connsiteY5" fmla="*/ 0 h 6488358"/>
              <a:gd name="connsiteX0" fmla="*/ 530 w 4409474"/>
              <a:gd name="connsiteY0" fmla="*/ 0 h 6488358"/>
              <a:gd name="connsiteX1" fmla="*/ 4409474 w 4409474"/>
              <a:gd name="connsiteY1" fmla="*/ 0 h 6488358"/>
              <a:gd name="connsiteX2" fmla="*/ 4409474 w 4409474"/>
              <a:gd name="connsiteY2" fmla="*/ 6488358 h 6488358"/>
              <a:gd name="connsiteX3" fmla="*/ 1709897 w 4409474"/>
              <a:gd name="connsiteY3" fmla="*/ 6487088 h 6488358"/>
              <a:gd name="connsiteX4" fmla="*/ 427197 w 4409474"/>
              <a:gd name="connsiteY4" fmla="*/ 4051863 h 6488358"/>
              <a:gd name="connsiteX5" fmla="*/ 530 w 4409474"/>
              <a:gd name="connsiteY5" fmla="*/ 0 h 6488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09474" h="6488358">
                <a:moveTo>
                  <a:pt x="530" y="0"/>
                </a:moveTo>
                <a:lnTo>
                  <a:pt x="4409474" y="0"/>
                </a:lnTo>
                <a:lnTo>
                  <a:pt x="4409474" y="6488358"/>
                </a:lnTo>
                <a:lnTo>
                  <a:pt x="1709897" y="6487088"/>
                </a:lnTo>
                <a:cubicBezTo>
                  <a:pt x="1168951" y="5999514"/>
                  <a:pt x="712091" y="5133044"/>
                  <a:pt x="427197" y="4051863"/>
                </a:cubicBezTo>
                <a:cubicBezTo>
                  <a:pt x="142303" y="2970682"/>
                  <a:pt x="-10191" y="1358994"/>
                  <a:pt x="530" y="0"/>
                </a:cubicBezTo>
                <a:close/>
              </a:path>
            </a:pathLst>
          </a:custGeo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a:t>
            </a:r>
            <a:br>
              <a:rPr lang="fi-FI"/>
            </a:br>
            <a:r>
              <a:rPr lang="fi-FI"/>
              <a:t>tai valitsemalla </a:t>
            </a:r>
            <a:r>
              <a:rPr lang="fi-FI" err="1"/>
              <a:t>Kameleonin</a:t>
            </a:r>
            <a:r>
              <a:rPr lang="fi-FI"/>
              <a:t> Kuvagalleriasta</a:t>
            </a:r>
            <a:br>
              <a:rPr lang="fi-FI"/>
            </a:br>
            <a:br>
              <a:rPr lang="fi-FI"/>
            </a:br>
            <a:r>
              <a:rPr lang="fi-FI"/>
              <a:t>Voit vaihtaa kuvan Kuvagalleriasta</a:t>
            </a:r>
            <a:br>
              <a:rPr lang="fi-FI"/>
            </a:br>
            <a:r>
              <a:rPr lang="fi-FI"/>
              <a:t>tai poistamalla kuvan ja lisäämällä uuden kuvan napsauttamalla kuvaketta</a:t>
            </a:r>
          </a:p>
        </p:txBody>
      </p:sp>
      <p:sp>
        <p:nvSpPr>
          <p:cNvPr id="8" name="Dian numeron paikkamerkki 5">
            <a:extLst>
              <a:ext uri="{FF2B5EF4-FFF2-40B4-BE49-F238E27FC236}">
                <a16:creationId xmlns:a16="http://schemas.microsoft.com/office/drawing/2014/main" id="{8CBE0249-DC84-4C39-89AB-E97D6F0F849A}"/>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11" name="Päivämäärän paikkamerkki 3">
            <a:extLst>
              <a:ext uri="{FF2B5EF4-FFF2-40B4-BE49-F238E27FC236}">
                <a16:creationId xmlns:a16="http://schemas.microsoft.com/office/drawing/2014/main" id="{71815122-4A8E-4281-87AC-8D44BE6CC0D9}"/>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26.4.2022   |   </a:t>
            </a:r>
          </a:p>
        </p:txBody>
      </p:sp>
      <p:sp>
        <p:nvSpPr>
          <p:cNvPr id="12" name="Alatunnisteen paikkamerkki 4">
            <a:extLst>
              <a:ext uri="{FF2B5EF4-FFF2-40B4-BE49-F238E27FC236}">
                <a16:creationId xmlns:a16="http://schemas.microsoft.com/office/drawing/2014/main" id="{788FD0A6-21DD-4310-9D7C-EC77DE9DFE52}"/>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Päivi Hautaniemi</a:t>
            </a:r>
          </a:p>
        </p:txBody>
      </p:sp>
    </p:spTree>
    <p:extLst>
      <p:ext uri="{BB962C8B-B14F-4D97-AF65-F5344CB8AC3E}">
        <p14:creationId xmlns:p14="http://schemas.microsoft.com/office/powerpoint/2010/main" val="3329024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matchingName="Sisältö kaarevalla kuvalla 2" preserve="1" userDrawn="1">
  <p:cSld name="Sisältö kaarevalla kuvalla 2">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a:xfrm>
            <a:off x="922350" y="470390"/>
            <a:ext cx="6482227" cy="1119501"/>
          </a:xfrm>
        </p:spPr>
        <p:txBody>
          <a:bodyPr/>
          <a:lstStyle/>
          <a:p>
            <a:r>
              <a:rPr lang="en-GB" err="1"/>
              <a:t>Tekstisivu</a:t>
            </a:r>
            <a:r>
              <a:rPr lang="en-GB"/>
              <a:t> </a:t>
            </a:r>
            <a:r>
              <a:rPr lang="en-GB" err="1"/>
              <a:t>isolla</a:t>
            </a:r>
            <a:r>
              <a:rPr lang="en-GB"/>
              <a:t> </a:t>
            </a:r>
            <a:br>
              <a:rPr lang="en-GB"/>
            </a:br>
            <a:r>
              <a:rPr lang="en-GB" err="1"/>
              <a:t>kaarevalla</a:t>
            </a:r>
            <a:r>
              <a:rPr lang="en-GB"/>
              <a:t> </a:t>
            </a:r>
            <a:r>
              <a:rPr lang="en-GB" err="1"/>
              <a:t>kuvalla</a:t>
            </a:r>
            <a:r>
              <a:rPr lang="en-GB"/>
              <a:t> </a:t>
            </a:r>
            <a:endParaRPr lang="fi-FI"/>
          </a:p>
        </p:txBody>
      </p:sp>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922350" y="1856630"/>
            <a:ext cx="6482227" cy="4089200"/>
          </a:xfrm>
        </p:spPr>
        <p:txBody>
          <a:bodyPr/>
          <a:lstStyle>
            <a:lvl1pPr>
              <a:defRPr/>
            </a:lvl1pPr>
          </a:lstStyle>
          <a:p>
            <a:pPr lvl="0"/>
            <a:r>
              <a:rPr lang="fi-FI"/>
              <a:t>Esityksen tekstisisältö tulee aina tiivistää mahdollisimman lyhyeksi.</a:t>
            </a:r>
            <a:br>
              <a:rPr lang="fi-FI"/>
            </a:br>
            <a:r>
              <a:rPr lang="fi-FI"/>
              <a:t>Käytä laadukkaita kuvia</a:t>
            </a:r>
            <a:br>
              <a:rPr lang="fi-FI"/>
            </a:br>
            <a:r>
              <a:rPr lang="fi-FI"/>
              <a:t>Vältä tiedostokooltaan isoja kuvia, jotta esityksestä ei tule liian raskas.</a:t>
            </a:r>
            <a:br>
              <a:rPr lang="fi-FI"/>
            </a:br>
            <a:r>
              <a:rPr lang="fi-FI"/>
              <a:t>Sivun tulee olla helposti silmäiltävissä ja teksti koon tulee olla luettavissa</a:t>
            </a:r>
          </a:p>
          <a:p>
            <a:pPr lvl="1"/>
            <a:r>
              <a:rPr lang="en-GB"/>
              <a:t>Second level</a:t>
            </a:r>
          </a:p>
          <a:p>
            <a:pPr lvl="2"/>
            <a:r>
              <a:rPr lang="en-GB"/>
              <a:t>Third level</a:t>
            </a:r>
          </a:p>
          <a:p>
            <a:pPr lvl="3"/>
            <a:r>
              <a:rPr lang="en-GB"/>
              <a:t>Fourth level</a:t>
            </a:r>
          </a:p>
          <a:p>
            <a:pPr lvl="4"/>
            <a:r>
              <a:rPr lang="en-GB"/>
              <a:t>Fifth level</a:t>
            </a:r>
            <a:endParaRPr lang="fi-FI"/>
          </a:p>
        </p:txBody>
      </p:sp>
      <p:sp>
        <p:nvSpPr>
          <p:cNvPr id="9" name="Kuvan paikkamerkki 2">
            <a:extLst>
              <a:ext uri="{FF2B5EF4-FFF2-40B4-BE49-F238E27FC236}">
                <a16:creationId xmlns:a16="http://schemas.microsoft.com/office/drawing/2014/main" id="{46D95DB7-D85C-4651-BD0D-60A1252BAAEB}"/>
              </a:ext>
              <a:ext uri="{C183D7F6-B498-43B3-948B-1728B52AA6E4}">
                <adec:decorative xmlns:adec="http://schemas.microsoft.com/office/drawing/2017/decorative" val="1"/>
              </a:ext>
            </a:extLst>
          </p:cNvPr>
          <p:cNvSpPr>
            <a:spLocks noGrp="1" noChangeAspect="1"/>
          </p:cNvSpPr>
          <p:nvPr>
            <p:ph type="pic" idx="13" hasCustomPrompt="1"/>
          </p:nvPr>
        </p:nvSpPr>
        <p:spPr>
          <a:xfrm>
            <a:off x="7611518" y="180000"/>
            <a:ext cx="4401681" cy="6498000"/>
          </a:xfrm>
          <a:custGeom>
            <a:avLst/>
            <a:gdLst>
              <a:gd name="connsiteX0" fmla="*/ 0 w 4408944"/>
              <a:gd name="connsiteY0" fmla="*/ 0 h 6488358"/>
              <a:gd name="connsiteX1" fmla="*/ 4408944 w 4408944"/>
              <a:gd name="connsiteY1" fmla="*/ 0 h 6488358"/>
              <a:gd name="connsiteX2" fmla="*/ 4408944 w 4408944"/>
              <a:gd name="connsiteY2" fmla="*/ 6488358 h 6488358"/>
              <a:gd name="connsiteX3" fmla="*/ 0 w 4408944"/>
              <a:gd name="connsiteY3" fmla="*/ 6488358 h 6488358"/>
              <a:gd name="connsiteX4" fmla="*/ 0 w 4408944"/>
              <a:gd name="connsiteY4" fmla="*/ 0 h 6488358"/>
              <a:gd name="connsiteX0" fmla="*/ 0 w 4408944"/>
              <a:gd name="connsiteY0" fmla="*/ 2612 h 6490970"/>
              <a:gd name="connsiteX1" fmla="*/ 1703017 w 4408944"/>
              <a:gd name="connsiteY1" fmla="*/ 0 h 6490970"/>
              <a:gd name="connsiteX2" fmla="*/ 4408944 w 4408944"/>
              <a:gd name="connsiteY2" fmla="*/ 2612 h 6490970"/>
              <a:gd name="connsiteX3" fmla="*/ 4408944 w 4408944"/>
              <a:gd name="connsiteY3" fmla="*/ 6490970 h 6490970"/>
              <a:gd name="connsiteX4" fmla="*/ 0 w 4408944"/>
              <a:gd name="connsiteY4" fmla="*/ 6490970 h 6490970"/>
              <a:gd name="connsiteX5" fmla="*/ 0 w 4408944"/>
              <a:gd name="connsiteY5" fmla="*/ 2612 h 6490970"/>
              <a:gd name="connsiteX0" fmla="*/ 399196 w 4808140"/>
              <a:gd name="connsiteY0" fmla="*/ 481490 h 6969848"/>
              <a:gd name="connsiteX1" fmla="*/ 2102213 w 4808140"/>
              <a:gd name="connsiteY1" fmla="*/ 478878 h 6969848"/>
              <a:gd name="connsiteX2" fmla="*/ 4808140 w 4808140"/>
              <a:gd name="connsiteY2" fmla="*/ 481490 h 6969848"/>
              <a:gd name="connsiteX3" fmla="*/ 4808140 w 4808140"/>
              <a:gd name="connsiteY3" fmla="*/ 6969848 h 6969848"/>
              <a:gd name="connsiteX4" fmla="*/ 399196 w 4808140"/>
              <a:gd name="connsiteY4" fmla="*/ 6969848 h 6969848"/>
              <a:gd name="connsiteX5" fmla="*/ 399196 w 4808140"/>
              <a:gd name="connsiteY5" fmla="*/ 481490 h 6969848"/>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420890 w 4410734"/>
              <a:gd name="connsiteY0" fmla="*/ 2450537 h 6490970"/>
              <a:gd name="connsiteX1" fmla="*/ 1704807 w 4410734"/>
              <a:gd name="connsiteY1" fmla="*/ 0 h 6490970"/>
              <a:gd name="connsiteX2" fmla="*/ 4410734 w 4410734"/>
              <a:gd name="connsiteY2" fmla="*/ 2612 h 6490970"/>
              <a:gd name="connsiteX3" fmla="*/ 4410734 w 4410734"/>
              <a:gd name="connsiteY3" fmla="*/ 6490970 h 6490970"/>
              <a:gd name="connsiteX4" fmla="*/ 1790 w 4410734"/>
              <a:gd name="connsiteY4" fmla="*/ 6490970 h 6490970"/>
              <a:gd name="connsiteX5" fmla="*/ 420890 w 4410734"/>
              <a:gd name="connsiteY5" fmla="*/ 2450537 h 649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0734" h="6490970">
                <a:moveTo>
                  <a:pt x="420890" y="2450537"/>
                </a:moveTo>
                <a:cubicBezTo>
                  <a:pt x="704726" y="1368709"/>
                  <a:pt x="1192233" y="476250"/>
                  <a:pt x="1704807" y="0"/>
                </a:cubicBezTo>
                <a:lnTo>
                  <a:pt x="4410734" y="2612"/>
                </a:lnTo>
                <a:lnTo>
                  <a:pt x="4410734" y="6490970"/>
                </a:lnTo>
                <a:lnTo>
                  <a:pt x="1790" y="6490970"/>
                </a:lnTo>
                <a:cubicBezTo>
                  <a:pt x="-18659" y="5206377"/>
                  <a:pt x="137054" y="3532365"/>
                  <a:pt x="420890" y="2450537"/>
                </a:cubicBezTo>
                <a:close/>
              </a:path>
            </a:pathLst>
          </a:custGeo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a:t>
            </a:r>
            <a:br>
              <a:rPr lang="fi-FI"/>
            </a:br>
            <a:r>
              <a:rPr lang="fi-FI"/>
              <a:t>tai valitsemalla </a:t>
            </a:r>
            <a:r>
              <a:rPr lang="fi-FI" err="1"/>
              <a:t>Kameleonin</a:t>
            </a:r>
            <a:r>
              <a:rPr lang="fi-FI"/>
              <a:t> Kuvagalleriasta</a:t>
            </a:r>
            <a:br>
              <a:rPr lang="fi-FI"/>
            </a:br>
            <a:br>
              <a:rPr lang="fi-FI"/>
            </a:br>
            <a:r>
              <a:rPr lang="fi-FI"/>
              <a:t>Voit vaihtaa kuvan Kuvagalleriasta</a:t>
            </a:r>
            <a:br>
              <a:rPr lang="fi-FI"/>
            </a:br>
            <a:r>
              <a:rPr lang="fi-FI"/>
              <a:t>tai poistamalla kuvan ja lisäämällä uuden kuvan napsauttamalla kuvaketta</a:t>
            </a:r>
          </a:p>
        </p:txBody>
      </p:sp>
      <p:sp>
        <p:nvSpPr>
          <p:cNvPr id="8" name="Dian numeron paikkamerkki 5">
            <a:extLst>
              <a:ext uri="{FF2B5EF4-FFF2-40B4-BE49-F238E27FC236}">
                <a16:creationId xmlns:a16="http://schemas.microsoft.com/office/drawing/2014/main" id="{065E56D1-9BA4-4424-AA13-FA7AB9479943}"/>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11" name="Päivämäärän paikkamerkki 3">
            <a:extLst>
              <a:ext uri="{FF2B5EF4-FFF2-40B4-BE49-F238E27FC236}">
                <a16:creationId xmlns:a16="http://schemas.microsoft.com/office/drawing/2014/main" id="{A889983E-086F-483E-ACC1-0D3B42D4E4EC}"/>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26.4.2022   |   </a:t>
            </a:r>
          </a:p>
        </p:txBody>
      </p:sp>
      <p:sp>
        <p:nvSpPr>
          <p:cNvPr id="12" name="Alatunnisteen paikkamerkki 4">
            <a:extLst>
              <a:ext uri="{FF2B5EF4-FFF2-40B4-BE49-F238E27FC236}">
                <a16:creationId xmlns:a16="http://schemas.microsoft.com/office/drawing/2014/main" id="{C519B920-C56F-4E32-B399-E7C752AC75E1}"/>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Päivi Hautaniemi</a:t>
            </a:r>
          </a:p>
        </p:txBody>
      </p:sp>
    </p:spTree>
    <p:extLst>
      <p:ext uri="{BB962C8B-B14F-4D97-AF65-F5344CB8AC3E}">
        <p14:creationId xmlns:p14="http://schemas.microsoft.com/office/powerpoint/2010/main" val="2926955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isältö kaarevalla kuvalla 3" preserve="1" userDrawn="1">
  <p:cSld name="Sisältö kaarevalla kuvalla 3">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EA7A06A4-1BF6-41E8-89FB-D111961A8A52}"/>
              </a:ext>
            </a:extLst>
          </p:cNvPr>
          <p:cNvSpPr>
            <a:spLocks noGrp="1"/>
          </p:cNvSpPr>
          <p:nvPr>
            <p:ph idx="1" hasCustomPrompt="1"/>
          </p:nvPr>
        </p:nvSpPr>
        <p:spPr>
          <a:xfrm>
            <a:off x="5077491" y="1856630"/>
            <a:ext cx="6482227" cy="4089200"/>
          </a:xfrm>
        </p:spPr>
        <p:txBody>
          <a:bodyPr/>
          <a:lstStyle>
            <a:lvl1pPr>
              <a:defRPr/>
            </a:lvl1pPr>
          </a:lstStyle>
          <a:p>
            <a:pPr lvl="0"/>
            <a:r>
              <a:rPr lang="fi-FI"/>
              <a:t>Esityksen tekstisisältö tulee aina tiivistää mahdollisimman lyhyeksi.</a:t>
            </a:r>
            <a:br>
              <a:rPr lang="fi-FI"/>
            </a:br>
            <a:r>
              <a:rPr lang="fi-FI"/>
              <a:t>Käytä laadukkaita kuvia</a:t>
            </a:r>
            <a:br>
              <a:rPr lang="fi-FI"/>
            </a:br>
            <a:r>
              <a:rPr lang="fi-FI"/>
              <a:t>Vältä tiedostokooltaan isoja kuvia, jotta esityksestä ei tule liian raskas.</a:t>
            </a:r>
            <a:br>
              <a:rPr lang="fi-FI"/>
            </a:br>
            <a:r>
              <a:rPr lang="fi-FI"/>
              <a:t>Sivun tulee olla helposti silmäiltävissä ja teksti koon tulee olla luettavissa</a:t>
            </a:r>
          </a:p>
          <a:p>
            <a:pPr lvl="1"/>
            <a:r>
              <a:rPr lang="en-GB"/>
              <a:t>Second level</a:t>
            </a:r>
          </a:p>
          <a:p>
            <a:pPr lvl="2"/>
            <a:r>
              <a:rPr lang="en-GB"/>
              <a:t>Third level</a:t>
            </a:r>
          </a:p>
          <a:p>
            <a:pPr lvl="3"/>
            <a:r>
              <a:rPr lang="en-GB"/>
              <a:t>Fourth level</a:t>
            </a:r>
          </a:p>
          <a:p>
            <a:pPr lvl="4"/>
            <a:r>
              <a:rPr lang="en-GB"/>
              <a:t>Fifth level</a:t>
            </a:r>
            <a:endParaRPr lang="fi-FI"/>
          </a:p>
        </p:txBody>
      </p:sp>
      <p:sp>
        <p:nvSpPr>
          <p:cNvPr id="4" name="Otsikko 3">
            <a:extLst>
              <a:ext uri="{FF2B5EF4-FFF2-40B4-BE49-F238E27FC236}">
                <a16:creationId xmlns:a16="http://schemas.microsoft.com/office/drawing/2014/main" id="{587E3A4C-54E7-4182-8680-0F8655812718}"/>
              </a:ext>
            </a:extLst>
          </p:cNvPr>
          <p:cNvSpPr>
            <a:spLocks noGrp="1"/>
          </p:cNvSpPr>
          <p:nvPr>
            <p:ph type="title" hasCustomPrompt="1"/>
          </p:nvPr>
        </p:nvSpPr>
        <p:spPr>
          <a:xfrm>
            <a:off x="5077491" y="470390"/>
            <a:ext cx="6482227" cy="1119501"/>
          </a:xfrm>
        </p:spPr>
        <p:txBody>
          <a:bodyPr/>
          <a:lstStyle/>
          <a:p>
            <a:r>
              <a:rPr lang="fi-FI" noProof="0"/>
              <a:t>Tekstisivu isolla </a:t>
            </a:r>
            <a:br>
              <a:rPr lang="fi-FI" noProof="0"/>
            </a:br>
            <a:r>
              <a:rPr lang="fi-FI" noProof="0"/>
              <a:t>kaarevalla kuvalla</a:t>
            </a:r>
            <a:endParaRPr lang="fi-FI"/>
          </a:p>
        </p:txBody>
      </p:sp>
      <p:sp>
        <p:nvSpPr>
          <p:cNvPr id="11" name="Kuvan paikkamerkki 2">
            <a:extLst>
              <a:ext uri="{FF2B5EF4-FFF2-40B4-BE49-F238E27FC236}">
                <a16:creationId xmlns:a16="http://schemas.microsoft.com/office/drawing/2014/main" id="{FFA32AF2-F2A2-4E4F-9C2B-365AAAFFC21A}"/>
              </a:ext>
              <a:ext uri="{C183D7F6-B498-43B3-948B-1728B52AA6E4}">
                <adec:decorative xmlns:adec="http://schemas.microsoft.com/office/drawing/2017/decorative" val="1"/>
              </a:ext>
            </a:extLst>
          </p:cNvPr>
          <p:cNvSpPr>
            <a:spLocks noGrp="1" noChangeAspect="1"/>
          </p:cNvSpPr>
          <p:nvPr>
            <p:ph type="pic" idx="14" hasCustomPrompt="1"/>
          </p:nvPr>
        </p:nvSpPr>
        <p:spPr>
          <a:xfrm>
            <a:off x="179999" y="180000"/>
            <a:ext cx="4420767" cy="6498000"/>
          </a:xfrm>
          <a:custGeom>
            <a:avLst/>
            <a:gdLst>
              <a:gd name="connsiteX0" fmla="*/ 0 w 4430891"/>
              <a:gd name="connsiteY0" fmla="*/ 0 h 6488358"/>
              <a:gd name="connsiteX1" fmla="*/ 4430891 w 4430891"/>
              <a:gd name="connsiteY1" fmla="*/ 0 h 6488358"/>
              <a:gd name="connsiteX2" fmla="*/ 4430891 w 4430891"/>
              <a:gd name="connsiteY2" fmla="*/ 6488358 h 6488358"/>
              <a:gd name="connsiteX3" fmla="*/ 0 w 4430891"/>
              <a:gd name="connsiteY3" fmla="*/ 6488358 h 6488358"/>
              <a:gd name="connsiteX4" fmla="*/ 0 w 4430891"/>
              <a:gd name="connsiteY4" fmla="*/ 0 h 6488358"/>
              <a:gd name="connsiteX0" fmla="*/ 0 w 4430891"/>
              <a:gd name="connsiteY0" fmla="*/ 2986 h 6491344"/>
              <a:gd name="connsiteX1" fmla="*/ 2727596 w 4430891"/>
              <a:gd name="connsiteY1" fmla="*/ 0 h 6491344"/>
              <a:gd name="connsiteX2" fmla="*/ 4430891 w 4430891"/>
              <a:gd name="connsiteY2" fmla="*/ 2986 h 6491344"/>
              <a:gd name="connsiteX3" fmla="*/ 4430891 w 4430891"/>
              <a:gd name="connsiteY3" fmla="*/ 6491344 h 6491344"/>
              <a:gd name="connsiteX4" fmla="*/ 0 w 4430891"/>
              <a:gd name="connsiteY4" fmla="*/ 6491344 h 6491344"/>
              <a:gd name="connsiteX5" fmla="*/ 0 w 4430891"/>
              <a:gd name="connsiteY5" fmla="*/ 2986 h 6491344"/>
              <a:gd name="connsiteX0" fmla="*/ 0 w 4831678"/>
              <a:gd name="connsiteY0" fmla="*/ 481615 h 6969973"/>
              <a:gd name="connsiteX1" fmla="*/ 2727596 w 4831678"/>
              <a:gd name="connsiteY1" fmla="*/ 478629 h 6969973"/>
              <a:gd name="connsiteX2" fmla="*/ 4430891 w 4831678"/>
              <a:gd name="connsiteY2" fmla="*/ 481615 h 6969973"/>
              <a:gd name="connsiteX3" fmla="*/ 4430891 w 4831678"/>
              <a:gd name="connsiteY3" fmla="*/ 6969973 h 6969973"/>
              <a:gd name="connsiteX4" fmla="*/ 0 w 4831678"/>
              <a:gd name="connsiteY4" fmla="*/ 6969973 h 6969973"/>
              <a:gd name="connsiteX5" fmla="*/ 0 w 4831678"/>
              <a:gd name="connsiteY5" fmla="*/ 481615 h 6969973"/>
              <a:gd name="connsiteX0" fmla="*/ 0 w 4706556"/>
              <a:gd name="connsiteY0" fmla="*/ 2986 h 6491344"/>
              <a:gd name="connsiteX1" fmla="*/ 2727596 w 4706556"/>
              <a:gd name="connsiteY1" fmla="*/ 0 h 6491344"/>
              <a:gd name="connsiteX2" fmla="*/ 3937832 w 4706556"/>
              <a:gd name="connsiteY2" fmla="*/ 2217269 h 6491344"/>
              <a:gd name="connsiteX3" fmla="*/ 4430891 w 4706556"/>
              <a:gd name="connsiteY3" fmla="*/ 6491344 h 6491344"/>
              <a:gd name="connsiteX4" fmla="*/ 0 w 4706556"/>
              <a:gd name="connsiteY4" fmla="*/ 6491344 h 6491344"/>
              <a:gd name="connsiteX5" fmla="*/ 0 w 4706556"/>
              <a:gd name="connsiteY5" fmla="*/ 2986 h 6491344"/>
              <a:gd name="connsiteX0" fmla="*/ 0 w 4713104"/>
              <a:gd name="connsiteY0" fmla="*/ 2986 h 6491344"/>
              <a:gd name="connsiteX1" fmla="*/ 2727596 w 4713104"/>
              <a:gd name="connsiteY1" fmla="*/ 0 h 6491344"/>
              <a:gd name="connsiteX2" fmla="*/ 3937832 w 4713104"/>
              <a:gd name="connsiteY2" fmla="*/ 2217269 h 6491344"/>
              <a:gd name="connsiteX3" fmla="*/ 4430891 w 4713104"/>
              <a:gd name="connsiteY3" fmla="*/ 6491344 h 6491344"/>
              <a:gd name="connsiteX4" fmla="*/ 0 w 4713104"/>
              <a:gd name="connsiteY4" fmla="*/ 6491344 h 6491344"/>
              <a:gd name="connsiteX5" fmla="*/ 0 w 4713104"/>
              <a:gd name="connsiteY5" fmla="*/ 2986 h 6491344"/>
              <a:gd name="connsiteX0" fmla="*/ 0 w 4713104"/>
              <a:gd name="connsiteY0" fmla="*/ 2986 h 6491344"/>
              <a:gd name="connsiteX1" fmla="*/ 2727596 w 4713104"/>
              <a:gd name="connsiteY1" fmla="*/ 0 h 6491344"/>
              <a:gd name="connsiteX2" fmla="*/ 3937832 w 4713104"/>
              <a:gd name="connsiteY2" fmla="*/ 2217269 h 6491344"/>
              <a:gd name="connsiteX3" fmla="*/ 4430891 w 4713104"/>
              <a:gd name="connsiteY3" fmla="*/ 6491344 h 6491344"/>
              <a:gd name="connsiteX4" fmla="*/ 0 w 4713104"/>
              <a:gd name="connsiteY4" fmla="*/ 6491344 h 6491344"/>
              <a:gd name="connsiteX5" fmla="*/ 0 w 4713104"/>
              <a:gd name="connsiteY5" fmla="*/ 2986 h 6491344"/>
              <a:gd name="connsiteX0" fmla="*/ 0 w 4431482"/>
              <a:gd name="connsiteY0" fmla="*/ 2986 h 6491344"/>
              <a:gd name="connsiteX1" fmla="*/ 2727596 w 4431482"/>
              <a:gd name="connsiteY1" fmla="*/ 0 h 6491344"/>
              <a:gd name="connsiteX2" fmla="*/ 3937832 w 4431482"/>
              <a:gd name="connsiteY2" fmla="*/ 2217269 h 6491344"/>
              <a:gd name="connsiteX3" fmla="*/ 4430891 w 4431482"/>
              <a:gd name="connsiteY3" fmla="*/ 6491344 h 6491344"/>
              <a:gd name="connsiteX4" fmla="*/ 0 w 4431482"/>
              <a:gd name="connsiteY4" fmla="*/ 6491344 h 6491344"/>
              <a:gd name="connsiteX5" fmla="*/ 0 w 4431482"/>
              <a:gd name="connsiteY5" fmla="*/ 2986 h 6491344"/>
              <a:gd name="connsiteX0" fmla="*/ 0 w 4431482"/>
              <a:gd name="connsiteY0" fmla="*/ 2986 h 6491344"/>
              <a:gd name="connsiteX1" fmla="*/ 2727596 w 4431482"/>
              <a:gd name="connsiteY1" fmla="*/ 0 h 6491344"/>
              <a:gd name="connsiteX2" fmla="*/ 3937832 w 4431482"/>
              <a:gd name="connsiteY2" fmla="*/ 2217269 h 6491344"/>
              <a:gd name="connsiteX3" fmla="*/ 4430891 w 4431482"/>
              <a:gd name="connsiteY3" fmla="*/ 6491344 h 6491344"/>
              <a:gd name="connsiteX4" fmla="*/ 0 w 4431482"/>
              <a:gd name="connsiteY4" fmla="*/ 6491344 h 6491344"/>
              <a:gd name="connsiteX5" fmla="*/ 0 w 4431482"/>
              <a:gd name="connsiteY5" fmla="*/ 2986 h 649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31482" h="6491344">
                <a:moveTo>
                  <a:pt x="0" y="2986"/>
                </a:moveTo>
                <a:lnTo>
                  <a:pt x="2727596" y="0"/>
                </a:lnTo>
                <a:cubicBezTo>
                  <a:pt x="3107490" y="349624"/>
                  <a:pt x="3613608" y="1148825"/>
                  <a:pt x="3937832" y="2217269"/>
                </a:cubicBezTo>
                <a:cubicBezTo>
                  <a:pt x="4262056" y="3285713"/>
                  <a:pt x="4443231" y="4809316"/>
                  <a:pt x="4430891" y="6491344"/>
                </a:cubicBezTo>
                <a:lnTo>
                  <a:pt x="0" y="6491344"/>
                </a:lnTo>
                <a:lnTo>
                  <a:pt x="0" y="2986"/>
                </a:lnTo>
                <a:close/>
              </a:path>
            </a:pathLst>
          </a:custGeo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a:t>
            </a:r>
            <a:br>
              <a:rPr lang="fi-FI"/>
            </a:br>
            <a:r>
              <a:rPr lang="fi-FI"/>
              <a:t>tai valitsemalla </a:t>
            </a:r>
            <a:r>
              <a:rPr lang="fi-FI" err="1"/>
              <a:t>Kameleonin</a:t>
            </a:r>
            <a:r>
              <a:rPr lang="fi-FI"/>
              <a:t> Kuvagalleriasta</a:t>
            </a:r>
            <a:br>
              <a:rPr lang="fi-FI"/>
            </a:br>
            <a:br>
              <a:rPr lang="fi-FI"/>
            </a:br>
            <a:r>
              <a:rPr lang="fi-FI"/>
              <a:t>Voit vaihtaa kuvan Kuvagalleriasta</a:t>
            </a:r>
            <a:br>
              <a:rPr lang="fi-FI"/>
            </a:br>
            <a:r>
              <a:rPr lang="fi-FI"/>
              <a:t>tai poistamalla kuvan ja lisäämällä uuden kuvan napsauttamalla kuvaketta</a:t>
            </a:r>
          </a:p>
        </p:txBody>
      </p:sp>
    </p:spTree>
    <p:extLst>
      <p:ext uri="{BB962C8B-B14F-4D97-AF65-F5344CB8AC3E}">
        <p14:creationId xmlns:p14="http://schemas.microsoft.com/office/powerpoint/2010/main" val="3025345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Osan ylätunniste" preserve="1" userDrawn="1">
  <p:cSld name="Osan ylätunniste">
    <p:spTree>
      <p:nvGrpSpPr>
        <p:cNvPr id="1" name=""/>
        <p:cNvGrpSpPr/>
        <p:nvPr/>
      </p:nvGrpSpPr>
      <p:grpSpPr>
        <a:xfrm>
          <a:off x="0" y="0"/>
          <a:ext cx="0" cy="0"/>
          <a:chOff x="0" y="0"/>
          <a:chExt cx="0" cy="0"/>
        </a:xfrm>
      </p:grpSpPr>
      <p:sp>
        <p:nvSpPr>
          <p:cNvPr id="7" name="Freeform 7">
            <a:extLst>
              <a:ext uri="{FF2B5EF4-FFF2-40B4-BE49-F238E27FC236}">
                <a16:creationId xmlns:a16="http://schemas.microsoft.com/office/drawing/2014/main" id="{FCE9B700-78CD-4A46-8766-AF0BB370CAA7}"/>
              </a:ext>
              <a:ext uri="{C183D7F6-B498-43B3-948B-1728B52AA6E4}">
                <adec:decorative xmlns:adec="http://schemas.microsoft.com/office/drawing/2017/decorative" val="1"/>
              </a:ext>
            </a:extLst>
          </p:cNvPr>
          <p:cNvSpPr>
            <a:spLocks/>
          </p:cNvSpPr>
          <p:nvPr userDrawn="1"/>
        </p:nvSpPr>
        <p:spPr bwMode="auto">
          <a:xfrm>
            <a:off x="178633" y="4020341"/>
            <a:ext cx="11832392" cy="2666209"/>
          </a:xfrm>
          <a:custGeom>
            <a:avLst/>
            <a:gdLst>
              <a:gd name="T0" fmla="*/ 0 w 32870"/>
              <a:gd name="T1" fmla="*/ 2673 h 7243"/>
              <a:gd name="T2" fmla="*/ 0 w 32870"/>
              <a:gd name="T3" fmla="*/ 7243 h 7243"/>
              <a:gd name="T4" fmla="*/ 19357 w 32870"/>
              <a:gd name="T5" fmla="*/ 7227 h 7243"/>
              <a:gd name="T6" fmla="*/ 32870 w 32870"/>
              <a:gd name="T7" fmla="*/ 5129 h 7243"/>
              <a:gd name="T8" fmla="*/ 32870 w 32870"/>
              <a:gd name="T9" fmla="*/ 0 h 7243"/>
              <a:gd name="T10" fmla="*/ 18713 w 32870"/>
              <a:gd name="T11" fmla="*/ 2667 h 7243"/>
              <a:gd name="T12" fmla="*/ 0 w 32870"/>
              <a:gd name="T13" fmla="*/ 2673 h 7243"/>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3690"/>
                </a:moveTo>
                <a:lnTo>
                  <a:pt x="0" y="10000"/>
                </a:lnTo>
                <a:lnTo>
                  <a:pt x="5889" y="9978"/>
                </a:lnTo>
                <a:cubicBezTo>
                  <a:pt x="7711" y="9924"/>
                  <a:pt x="9045" y="8853"/>
                  <a:pt x="10000" y="7081"/>
                </a:cubicBezTo>
                <a:lnTo>
                  <a:pt x="10000" y="0"/>
                </a:lnTo>
                <a:cubicBezTo>
                  <a:pt x="8680" y="2670"/>
                  <a:pt x="6906" y="3414"/>
                  <a:pt x="5697" y="3613"/>
                </a:cubicBezTo>
                <a:lnTo>
                  <a:pt x="0" y="3690"/>
                </a:ln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6" name="Freeform 6">
            <a:extLst>
              <a:ext uri="{FF2B5EF4-FFF2-40B4-BE49-F238E27FC236}">
                <a16:creationId xmlns:a16="http://schemas.microsoft.com/office/drawing/2014/main" id="{66D37437-23D8-4818-9C76-1C816B5145AB}"/>
              </a:ext>
              <a:ext uri="{C183D7F6-B498-43B3-948B-1728B52AA6E4}">
                <adec:decorative xmlns:adec="http://schemas.microsoft.com/office/drawing/2017/decorative" val="1"/>
              </a:ext>
            </a:extLst>
          </p:cNvPr>
          <p:cNvSpPr>
            <a:spLocks/>
          </p:cNvSpPr>
          <p:nvPr userDrawn="1"/>
        </p:nvSpPr>
        <p:spPr bwMode="auto">
          <a:xfrm>
            <a:off x="178633" y="180000"/>
            <a:ext cx="11832392" cy="4856905"/>
          </a:xfrm>
          <a:custGeom>
            <a:avLst/>
            <a:gdLst>
              <a:gd name="T0" fmla="*/ 0 w 32870"/>
              <a:gd name="T1" fmla="*/ 0 h 13403"/>
              <a:gd name="T2" fmla="*/ 0 w 32870"/>
              <a:gd name="T3" fmla="*/ 13403 h 13403"/>
              <a:gd name="T4" fmla="*/ 18713 w 32870"/>
              <a:gd name="T5" fmla="*/ 13397 h 13403"/>
              <a:gd name="T6" fmla="*/ 32870 w 32870"/>
              <a:gd name="T7" fmla="*/ 10730 h 13403"/>
              <a:gd name="T8" fmla="*/ 32870 w 32870"/>
              <a:gd name="T9" fmla="*/ 0 h 13403"/>
              <a:gd name="T10" fmla="*/ 0 w 32870"/>
              <a:gd name="T11" fmla="*/ 0 h 13403"/>
            </a:gdLst>
            <a:ahLst/>
            <a:cxnLst>
              <a:cxn ang="0">
                <a:pos x="T0" y="T1"/>
              </a:cxn>
              <a:cxn ang="0">
                <a:pos x="T2" y="T3"/>
              </a:cxn>
              <a:cxn ang="0">
                <a:pos x="T4" y="T5"/>
              </a:cxn>
              <a:cxn ang="0">
                <a:pos x="T6" y="T7"/>
              </a:cxn>
              <a:cxn ang="0">
                <a:pos x="T8" y="T9"/>
              </a:cxn>
              <a:cxn ang="0">
                <a:pos x="T10" y="T11"/>
              </a:cxn>
            </a:cxnLst>
            <a:rect l="0" t="0" r="r" b="b"/>
            <a:pathLst>
              <a:path w="32870" h="13403">
                <a:moveTo>
                  <a:pt x="0" y="0"/>
                </a:moveTo>
                <a:lnTo>
                  <a:pt x="0" y="13403"/>
                </a:lnTo>
                <a:cubicBezTo>
                  <a:pt x="9000" y="13399"/>
                  <a:pt x="17833" y="13396"/>
                  <a:pt x="18713" y="13397"/>
                </a:cubicBezTo>
                <a:cubicBezTo>
                  <a:pt x="22399" y="13403"/>
                  <a:pt x="28631" y="13027"/>
                  <a:pt x="32870" y="10730"/>
                </a:cubicBezTo>
                <a:lnTo>
                  <a:pt x="32870" y="0"/>
                </a:lnTo>
                <a:lnTo>
                  <a:pt x="0" y="0"/>
                </a:ln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1519434"/>
            <a:ext cx="7523132" cy="1980640"/>
          </a:xfrm>
        </p:spPr>
        <p:txBody>
          <a:bodyPr anchor="ctr" anchorCtr="0"/>
          <a:lstStyle>
            <a:lvl1pPr>
              <a:lnSpc>
                <a:spcPct val="95000"/>
              </a:lnSpc>
              <a:defRPr sz="4000">
                <a:solidFill>
                  <a:schemeClr val="bg1"/>
                </a:solidFill>
              </a:defRPr>
            </a:lvl1pPr>
          </a:lstStyle>
          <a:p>
            <a:r>
              <a:rPr lang="fi-FI"/>
              <a:t>Väliotsikkosivu </a:t>
            </a:r>
            <a:br>
              <a:rPr lang="fi-FI"/>
            </a:br>
            <a:r>
              <a:rPr lang="fi-FI"/>
              <a:t>esityksen jäsentämiseen </a:t>
            </a:r>
            <a:br>
              <a:rPr lang="fi-FI"/>
            </a:br>
            <a:r>
              <a:rPr lang="fi-FI" err="1"/>
              <a:t>max</a:t>
            </a:r>
            <a:r>
              <a:rPr lang="fi-FI"/>
              <a:t>. 3 riviä</a:t>
            </a:r>
          </a:p>
        </p:txBody>
      </p:sp>
    </p:spTree>
    <p:extLst>
      <p:ext uri="{BB962C8B-B14F-4D97-AF65-F5344CB8AC3E}">
        <p14:creationId xmlns:p14="http://schemas.microsoft.com/office/powerpoint/2010/main" val="13099709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 innehåll och bi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en-GB"/>
          </a:p>
        </p:txBody>
      </p:sp>
      <p:sp>
        <p:nvSpPr>
          <p:cNvPr id="3" name="Platshållare för innehåll 2"/>
          <p:cNvSpPr>
            <a:spLocks noGrp="1"/>
          </p:cNvSpPr>
          <p:nvPr>
            <p:ph idx="1"/>
          </p:nvPr>
        </p:nvSpPr>
        <p:spPr>
          <a:xfrm>
            <a:off x="803275" y="2059818"/>
            <a:ext cx="4664075" cy="432193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p:cNvSpPr>
            <a:spLocks noGrp="1"/>
          </p:cNvSpPr>
          <p:nvPr>
            <p:ph type="dt" sz="half" idx="10"/>
          </p:nvPr>
        </p:nvSpPr>
        <p:spPr/>
        <p:txBody>
          <a:bodyPr/>
          <a:lstStyle/>
          <a:p>
            <a:fld id="{F7FA3186-11D1-493F-B1DF-9D2A239EE9D6}" type="datetime1">
              <a:rPr lang="sv-SE" smtClean="0"/>
              <a:t>2022-04-29</a:t>
            </a:fld>
            <a:endParaRPr lang="en-GB"/>
          </a:p>
        </p:txBody>
      </p:sp>
      <p:sp>
        <p:nvSpPr>
          <p:cNvPr id="5" name="Platshållare för sidfot 4"/>
          <p:cNvSpPr>
            <a:spLocks noGrp="1"/>
          </p:cNvSpPr>
          <p:nvPr>
            <p:ph type="ftr" sz="quarter" idx="11"/>
          </p:nvPr>
        </p:nvSpPr>
        <p:spPr/>
        <p:txBody>
          <a:body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12"/>
          </p:nvPr>
        </p:nvSpPr>
        <p:spPr/>
        <p:txBody>
          <a:bodyPr/>
          <a:lstStyle/>
          <a:p>
            <a:fld id="{A3EAEDCA-98D4-4724-9772-C653855CA076}" type="slidenum">
              <a:rPr lang="en-GB" smtClean="0"/>
              <a:t>‹#›</a:t>
            </a:fld>
            <a:endParaRPr lang="en-GB"/>
          </a:p>
        </p:txBody>
      </p:sp>
      <p:sp>
        <p:nvSpPr>
          <p:cNvPr id="8" name="Platshållare för bild 7"/>
          <p:cNvSpPr>
            <a:spLocks noGrp="1"/>
          </p:cNvSpPr>
          <p:nvPr>
            <p:ph type="pic" sz="quarter" idx="13"/>
          </p:nvPr>
        </p:nvSpPr>
        <p:spPr>
          <a:xfrm>
            <a:off x="6144684" y="2097087"/>
            <a:ext cx="5783292" cy="4284663"/>
          </a:xfrm>
        </p:spPr>
        <p:txBody>
          <a:bodyPr/>
          <a:lstStyle/>
          <a:p>
            <a:r>
              <a:rPr lang="sv-SE"/>
              <a:t>Klicka på ikonen för att lägga till en bild</a:t>
            </a:r>
          </a:p>
        </p:txBody>
      </p:sp>
    </p:spTree>
    <p:extLst>
      <p:ext uri="{BB962C8B-B14F-4D97-AF65-F5344CB8AC3E}">
        <p14:creationId xmlns:p14="http://schemas.microsoft.com/office/powerpoint/2010/main" val="27963709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Osan ylätunniste 2" preserve="1" userDrawn="1">
  <p:cSld name="Osan ylätunniste 2">
    <p:spTree>
      <p:nvGrpSpPr>
        <p:cNvPr id="1" name=""/>
        <p:cNvGrpSpPr/>
        <p:nvPr/>
      </p:nvGrpSpPr>
      <p:grpSpPr>
        <a:xfrm>
          <a:off x="0" y="0"/>
          <a:ext cx="0" cy="0"/>
          <a:chOff x="0" y="0"/>
          <a:chExt cx="0" cy="0"/>
        </a:xfrm>
      </p:grpSpPr>
      <p:sp>
        <p:nvSpPr>
          <p:cNvPr id="7" name="Freeform 7">
            <a:extLst>
              <a:ext uri="{FF2B5EF4-FFF2-40B4-BE49-F238E27FC236}">
                <a16:creationId xmlns:a16="http://schemas.microsoft.com/office/drawing/2014/main" id="{FCE9B700-78CD-4A46-8766-AF0BB370CAA7}"/>
              </a:ext>
              <a:ext uri="{C183D7F6-B498-43B3-948B-1728B52AA6E4}">
                <adec:decorative xmlns:adec="http://schemas.microsoft.com/office/drawing/2017/decorative" val="1"/>
              </a:ext>
            </a:extLst>
          </p:cNvPr>
          <p:cNvSpPr>
            <a:spLocks/>
          </p:cNvSpPr>
          <p:nvPr userDrawn="1"/>
        </p:nvSpPr>
        <p:spPr bwMode="auto">
          <a:xfrm>
            <a:off x="178632" y="4020341"/>
            <a:ext cx="11834341" cy="2666209"/>
          </a:xfrm>
          <a:custGeom>
            <a:avLst/>
            <a:gdLst>
              <a:gd name="T0" fmla="*/ 0 w 32870"/>
              <a:gd name="T1" fmla="*/ 2673 h 7243"/>
              <a:gd name="T2" fmla="*/ 0 w 32870"/>
              <a:gd name="T3" fmla="*/ 7243 h 7243"/>
              <a:gd name="T4" fmla="*/ 19357 w 32870"/>
              <a:gd name="T5" fmla="*/ 7227 h 7243"/>
              <a:gd name="T6" fmla="*/ 32870 w 32870"/>
              <a:gd name="T7" fmla="*/ 5129 h 7243"/>
              <a:gd name="T8" fmla="*/ 32870 w 32870"/>
              <a:gd name="T9" fmla="*/ 0 h 7243"/>
              <a:gd name="T10" fmla="*/ 18713 w 32870"/>
              <a:gd name="T11" fmla="*/ 2667 h 7243"/>
              <a:gd name="T12" fmla="*/ 0 w 32870"/>
              <a:gd name="T13" fmla="*/ 2673 h 7243"/>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3690"/>
                </a:moveTo>
                <a:lnTo>
                  <a:pt x="0" y="10000"/>
                </a:lnTo>
                <a:lnTo>
                  <a:pt x="5889" y="9978"/>
                </a:lnTo>
                <a:cubicBezTo>
                  <a:pt x="7711" y="9924"/>
                  <a:pt x="9045" y="8853"/>
                  <a:pt x="10000" y="7081"/>
                </a:cubicBezTo>
                <a:lnTo>
                  <a:pt x="10000" y="0"/>
                </a:lnTo>
                <a:cubicBezTo>
                  <a:pt x="8680" y="2670"/>
                  <a:pt x="6906" y="3414"/>
                  <a:pt x="5697" y="3613"/>
                </a:cubicBezTo>
                <a:lnTo>
                  <a:pt x="0" y="3690"/>
                </a:lnTo>
                <a:close/>
              </a:path>
            </a:pathLst>
          </a:custGeom>
          <a:solidFill>
            <a:srgbClr val="B6B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6" name="Freeform 6">
            <a:extLst>
              <a:ext uri="{FF2B5EF4-FFF2-40B4-BE49-F238E27FC236}">
                <a16:creationId xmlns:a16="http://schemas.microsoft.com/office/drawing/2014/main" id="{66D37437-23D8-4818-9C76-1C816B5145AB}"/>
              </a:ext>
              <a:ext uri="{C183D7F6-B498-43B3-948B-1728B52AA6E4}">
                <adec:decorative xmlns:adec="http://schemas.microsoft.com/office/drawing/2017/decorative" val="1"/>
              </a:ext>
            </a:extLst>
          </p:cNvPr>
          <p:cNvSpPr>
            <a:spLocks/>
          </p:cNvSpPr>
          <p:nvPr userDrawn="1"/>
        </p:nvSpPr>
        <p:spPr bwMode="auto">
          <a:xfrm>
            <a:off x="178632" y="180000"/>
            <a:ext cx="11834341" cy="4856905"/>
          </a:xfrm>
          <a:custGeom>
            <a:avLst/>
            <a:gdLst>
              <a:gd name="T0" fmla="*/ 0 w 32870"/>
              <a:gd name="T1" fmla="*/ 0 h 13403"/>
              <a:gd name="T2" fmla="*/ 0 w 32870"/>
              <a:gd name="T3" fmla="*/ 13403 h 13403"/>
              <a:gd name="T4" fmla="*/ 18713 w 32870"/>
              <a:gd name="T5" fmla="*/ 13397 h 13403"/>
              <a:gd name="T6" fmla="*/ 32870 w 32870"/>
              <a:gd name="T7" fmla="*/ 10730 h 13403"/>
              <a:gd name="T8" fmla="*/ 32870 w 32870"/>
              <a:gd name="T9" fmla="*/ 0 h 13403"/>
              <a:gd name="T10" fmla="*/ 0 w 32870"/>
              <a:gd name="T11" fmla="*/ 0 h 13403"/>
            </a:gdLst>
            <a:ahLst/>
            <a:cxnLst>
              <a:cxn ang="0">
                <a:pos x="T0" y="T1"/>
              </a:cxn>
              <a:cxn ang="0">
                <a:pos x="T2" y="T3"/>
              </a:cxn>
              <a:cxn ang="0">
                <a:pos x="T4" y="T5"/>
              </a:cxn>
              <a:cxn ang="0">
                <a:pos x="T6" y="T7"/>
              </a:cxn>
              <a:cxn ang="0">
                <a:pos x="T8" y="T9"/>
              </a:cxn>
              <a:cxn ang="0">
                <a:pos x="T10" y="T11"/>
              </a:cxn>
            </a:cxnLst>
            <a:rect l="0" t="0" r="r" b="b"/>
            <a:pathLst>
              <a:path w="32870" h="13403">
                <a:moveTo>
                  <a:pt x="0" y="0"/>
                </a:moveTo>
                <a:lnTo>
                  <a:pt x="0" y="13403"/>
                </a:lnTo>
                <a:cubicBezTo>
                  <a:pt x="9000" y="13399"/>
                  <a:pt x="17833" y="13396"/>
                  <a:pt x="18713" y="13397"/>
                </a:cubicBezTo>
                <a:cubicBezTo>
                  <a:pt x="22399" y="13403"/>
                  <a:pt x="28631" y="13027"/>
                  <a:pt x="32870" y="10730"/>
                </a:cubicBezTo>
                <a:lnTo>
                  <a:pt x="32870" y="0"/>
                </a:lnTo>
                <a:lnTo>
                  <a:pt x="0" y="0"/>
                </a:lnTo>
                <a:close/>
              </a:path>
            </a:pathLst>
          </a:custGeom>
          <a:solidFill>
            <a:srgbClr val="5A8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1519434"/>
            <a:ext cx="7523132" cy="1980640"/>
          </a:xfrm>
        </p:spPr>
        <p:txBody>
          <a:bodyPr anchor="ctr" anchorCtr="0"/>
          <a:lstStyle>
            <a:lvl1pPr>
              <a:lnSpc>
                <a:spcPct val="95000"/>
              </a:lnSpc>
              <a:defRPr sz="4000">
                <a:solidFill>
                  <a:schemeClr val="bg1"/>
                </a:solidFill>
              </a:defRPr>
            </a:lvl1pPr>
          </a:lstStyle>
          <a:p>
            <a:r>
              <a:rPr lang="fi-FI"/>
              <a:t>Väliotsikkosivu </a:t>
            </a:r>
            <a:br>
              <a:rPr lang="fi-FI"/>
            </a:br>
            <a:r>
              <a:rPr lang="fi-FI"/>
              <a:t>esityksen jäsentämiseen </a:t>
            </a:r>
            <a:br>
              <a:rPr lang="fi-FI"/>
            </a:br>
            <a:r>
              <a:rPr lang="fi-FI" err="1"/>
              <a:t>max</a:t>
            </a:r>
            <a:r>
              <a:rPr lang="fi-FI"/>
              <a:t>. 3 riviä</a:t>
            </a:r>
          </a:p>
        </p:txBody>
      </p:sp>
    </p:spTree>
    <p:extLst>
      <p:ext uri="{BB962C8B-B14F-4D97-AF65-F5344CB8AC3E}">
        <p14:creationId xmlns:p14="http://schemas.microsoft.com/office/powerpoint/2010/main" val="1570723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Osan ylätunniste 3" preserve="1" userDrawn="1">
  <p:cSld name="Osan ylätunniste 3">
    <p:spTree>
      <p:nvGrpSpPr>
        <p:cNvPr id="1" name=""/>
        <p:cNvGrpSpPr/>
        <p:nvPr/>
      </p:nvGrpSpPr>
      <p:grpSpPr>
        <a:xfrm>
          <a:off x="0" y="0"/>
          <a:ext cx="0" cy="0"/>
          <a:chOff x="0" y="0"/>
          <a:chExt cx="0" cy="0"/>
        </a:xfrm>
      </p:grpSpPr>
      <p:sp>
        <p:nvSpPr>
          <p:cNvPr id="7" name="Freeform 7">
            <a:extLst>
              <a:ext uri="{FF2B5EF4-FFF2-40B4-BE49-F238E27FC236}">
                <a16:creationId xmlns:a16="http://schemas.microsoft.com/office/drawing/2014/main" id="{FCE9B700-78CD-4A46-8766-AF0BB370CAA7}"/>
              </a:ext>
              <a:ext uri="{C183D7F6-B498-43B3-948B-1728B52AA6E4}">
                <adec:decorative xmlns:adec="http://schemas.microsoft.com/office/drawing/2017/decorative" val="1"/>
              </a:ext>
            </a:extLst>
          </p:cNvPr>
          <p:cNvSpPr>
            <a:spLocks/>
          </p:cNvSpPr>
          <p:nvPr userDrawn="1"/>
        </p:nvSpPr>
        <p:spPr bwMode="auto">
          <a:xfrm>
            <a:off x="178632" y="4020341"/>
            <a:ext cx="11834341" cy="2666209"/>
          </a:xfrm>
          <a:custGeom>
            <a:avLst/>
            <a:gdLst>
              <a:gd name="T0" fmla="*/ 0 w 32870"/>
              <a:gd name="T1" fmla="*/ 2673 h 7243"/>
              <a:gd name="T2" fmla="*/ 0 w 32870"/>
              <a:gd name="T3" fmla="*/ 7243 h 7243"/>
              <a:gd name="T4" fmla="*/ 19357 w 32870"/>
              <a:gd name="T5" fmla="*/ 7227 h 7243"/>
              <a:gd name="T6" fmla="*/ 32870 w 32870"/>
              <a:gd name="T7" fmla="*/ 5129 h 7243"/>
              <a:gd name="T8" fmla="*/ 32870 w 32870"/>
              <a:gd name="T9" fmla="*/ 0 h 7243"/>
              <a:gd name="T10" fmla="*/ 18713 w 32870"/>
              <a:gd name="T11" fmla="*/ 2667 h 7243"/>
              <a:gd name="T12" fmla="*/ 0 w 32870"/>
              <a:gd name="T13" fmla="*/ 2673 h 7243"/>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 name="connsiteX0" fmla="*/ 0 w 10000"/>
              <a:gd name="connsiteY0" fmla="*/ 3690 h 10000"/>
              <a:gd name="connsiteX1" fmla="*/ 0 w 10000"/>
              <a:gd name="connsiteY1" fmla="*/ 10000 h 10000"/>
              <a:gd name="connsiteX2" fmla="*/ 5889 w 10000"/>
              <a:gd name="connsiteY2" fmla="*/ 9978 h 10000"/>
              <a:gd name="connsiteX3" fmla="*/ 10000 w 10000"/>
              <a:gd name="connsiteY3" fmla="*/ 7081 h 10000"/>
              <a:gd name="connsiteX4" fmla="*/ 10000 w 10000"/>
              <a:gd name="connsiteY4" fmla="*/ 0 h 10000"/>
              <a:gd name="connsiteX5" fmla="*/ 5697 w 10000"/>
              <a:gd name="connsiteY5" fmla="*/ 3613 h 10000"/>
              <a:gd name="connsiteX6" fmla="*/ 0 w 10000"/>
              <a:gd name="connsiteY6" fmla="*/ 369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0" y="3690"/>
                </a:moveTo>
                <a:lnTo>
                  <a:pt x="0" y="10000"/>
                </a:lnTo>
                <a:lnTo>
                  <a:pt x="5889" y="9978"/>
                </a:lnTo>
                <a:cubicBezTo>
                  <a:pt x="7711" y="9924"/>
                  <a:pt x="9045" y="8853"/>
                  <a:pt x="10000" y="7081"/>
                </a:cubicBezTo>
                <a:lnTo>
                  <a:pt x="10000" y="0"/>
                </a:lnTo>
                <a:cubicBezTo>
                  <a:pt x="8680" y="2670"/>
                  <a:pt x="6906" y="3414"/>
                  <a:pt x="5697" y="3613"/>
                </a:cubicBezTo>
                <a:lnTo>
                  <a:pt x="0" y="3690"/>
                </a:lnTo>
                <a:close/>
              </a:path>
            </a:pathLst>
          </a:custGeom>
          <a:solidFill>
            <a:srgbClr val="D964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6" name="Freeform 6">
            <a:extLst>
              <a:ext uri="{FF2B5EF4-FFF2-40B4-BE49-F238E27FC236}">
                <a16:creationId xmlns:a16="http://schemas.microsoft.com/office/drawing/2014/main" id="{66D37437-23D8-4818-9C76-1C816B5145AB}"/>
              </a:ext>
              <a:ext uri="{C183D7F6-B498-43B3-948B-1728B52AA6E4}">
                <adec:decorative xmlns:adec="http://schemas.microsoft.com/office/drawing/2017/decorative" val="1"/>
              </a:ext>
            </a:extLst>
          </p:cNvPr>
          <p:cNvSpPr>
            <a:spLocks/>
          </p:cNvSpPr>
          <p:nvPr userDrawn="1"/>
        </p:nvSpPr>
        <p:spPr bwMode="auto">
          <a:xfrm>
            <a:off x="178632" y="180000"/>
            <a:ext cx="11834341" cy="4856905"/>
          </a:xfrm>
          <a:custGeom>
            <a:avLst/>
            <a:gdLst>
              <a:gd name="T0" fmla="*/ 0 w 32870"/>
              <a:gd name="T1" fmla="*/ 0 h 13403"/>
              <a:gd name="T2" fmla="*/ 0 w 32870"/>
              <a:gd name="T3" fmla="*/ 13403 h 13403"/>
              <a:gd name="T4" fmla="*/ 18713 w 32870"/>
              <a:gd name="T5" fmla="*/ 13397 h 13403"/>
              <a:gd name="T6" fmla="*/ 32870 w 32870"/>
              <a:gd name="T7" fmla="*/ 10730 h 13403"/>
              <a:gd name="T8" fmla="*/ 32870 w 32870"/>
              <a:gd name="T9" fmla="*/ 0 h 13403"/>
              <a:gd name="T10" fmla="*/ 0 w 32870"/>
              <a:gd name="T11" fmla="*/ 0 h 13403"/>
            </a:gdLst>
            <a:ahLst/>
            <a:cxnLst>
              <a:cxn ang="0">
                <a:pos x="T0" y="T1"/>
              </a:cxn>
              <a:cxn ang="0">
                <a:pos x="T2" y="T3"/>
              </a:cxn>
              <a:cxn ang="0">
                <a:pos x="T4" y="T5"/>
              </a:cxn>
              <a:cxn ang="0">
                <a:pos x="T6" y="T7"/>
              </a:cxn>
              <a:cxn ang="0">
                <a:pos x="T8" y="T9"/>
              </a:cxn>
              <a:cxn ang="0">
                <a:pos x="T10" y="T11"/>
              </a:cxn>
            </a:cxnLst>
            <a:rect l="0" t="0" r="r" b="b"/>
            <a:pathLst>
              <a:path w="32870" h="13403">
                <a:moveTo>
                  <a:pt x="0" y="0"/>
                </a:moveTo>
                <a:lnTo>
                  <a:pt x="0" y="13403"/>
                </a:lnTo>
                <a:cubicBezTo>
                  <a:pt x="9000" y="13399"/>
                  <a:pt x="17833" y="13396"/>
                  <a:pt x="18713" y="13397"/>
                </a:cubicBezTo>
                <a:cubicBezTo>
                  <a:pt x="22399" y="13403"/>
                  <a:pt x="28631" y="13027"/>
                  <a:pt x="32870" y="10730"/>
                </a:cubicBezTo>
                <a:lnTo>
                  <a:pt x="32870" y="0"/>
                </a:lnTo>
                <a:lnTo>
                  <a:pt x="0" y="0"/>
                </a:lnTo>
                <a:close/>
              </a:path>
            </a:pathLst>
          </a:custGeom>
          <a:solidFill>
            <a:srgbClr val="BE5A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1519434"/>
            <a:ext cx="7523132" cy="1980640"/>
          </a:xfrm>
        </p:spPr>
        <p:txBody>
          <a:bodyPr anchor="ctr" anchorCtr="0"/>
          <a:lstStyle>
            <a:lvl1pPr>
              <a:lnSpc>
                <a:spcPct val="95000"/>
              </a:lnSpc>
              <a:defRPr sz="4000">
                <a:solidFill>
                  <a:schemeClr val="bg1"/>
                </a:solidFill>
              </a:defRPr>
            </a:lvl1pPr>
          </a:lstStyle>
          <a:p>
            <a:r>
              <a:rPr lang="fi-FI"/>
              <a:t>Väliotsikkosivu </a:t>
            </a:r>
            <a:br>
              <a:rPr lang="fi-FI"/>
            </a:br>
            <a:r>
              <a:rPr lang="fi-FI"/>
              <a:t>esityksen jäsentämiseen </a:t>
            </a:r>
            <a:br>
              <a:rPr lang="fi-FI"/>
            </a:br>
            <a:r>
              <a:rPr lang="fi-FI" err="1"/>
              <a:t>max</a:t>
            </a:r>
            <a:r>
              <a:rPr lang="fi-FI"/>
              <a:t>. 3 riviä</a:t>
            </a:r>
          </a:p>
        </p:txBody>
      </p:sp>
    </p:spTree>
    <p:extLst>
      <p:ext uri="{BB962C8B-B14F-4D97-AF65-F5344CB8AC3E}">
        <p14:creationId xmlns:p14="http://schemas.microsoft.com/office/powerpoint/2010/main" val="2779452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Osan ylätunniste 4" preserve="1" userDrawn="1">
  <p:cSld name="Osan ylätunniste 4">
    <p:spTree>
      <p:nvGrpSpPr>
        <p:cNvPr id="1" name=""/>
        <p:cNvGrpSpPr/>
        <p:nvPr/>
      </p:nvGrpSpPr>
      <p:grpSpPr>
        <a:xfrm>
          <a:off x="0" y="0"/>
          <a:ext cx="0" cy="0"/>
          <a:chOff x="0" y="0"/>
          <a:chExt cx="0" cy="0"/>
        </a:xfrm>
      </p:grpSpPr>
      <p:grpSp>
        <p:nvGrpSpPr>
          <p:cNvPr id="8" name="Ryhmä 7">
            <a:extLst>
              <a:ext uri="{FF2B5EF4-FFF2-40B4-BE49-F238E27FC236}">
                <a16:creationId xmlns:a16="http://schemas.microsoft.com/office/drawing/2014/main" id="{699CDD43-C904-4C83-89E3-B4A65DCAA1D9}"/>
              </a:ext>
              <a:ext uri="{C183D7F6-B498-43B3-948B-1728B52AA6E4}">
                <adec:decorative xmlns:adec="http://schemas.microsoft.com/office/drawing/2017/decorative" val="1"/>
              </a:ext>
            </a:extLst>
          </p:cNvPr>
          <p:cNvGrpSpPr/>
          <p:nvPr userDrawn="1"/>
        </p:nvGrpSpPr>
        <p:grpSpPr>
          <a:xfrm>
            <a:off x="178632" y="180000"/>
            <a:ext cx="11834341" cy="6488159"/>
            <a:chOff x="178632" y="172167"/>
            <a:chExt cx="11834341" cy="6488159"/>
          </a:xfrm>
        </p:grpSpPr>
        <p:sp>
          <p:nvSpPr>
            <p:cNvPr id="9" name="Freeform 12">
              <a:extLst>
                <a:ext uri="{FF2B5EF4-FFF2-40B4-BE49-F238E27FC236}">
                  <a16:creationId xmlns:a16="http://schemas.microsoft.com/office/drawing/2014/main" id="{90CE7767-6758-4913-9796-391DDD99B57F}"/>
                </a:ext>
                <a:ext uri="{C183D7F6-B498-43B3-948B-1728B52AA6E4}">
                  <adec:decorative xmlns:adec="http://schemas.microsoft.com/office/drawing/2017/decorative" val="1"/>
                </a:ext>
              </a:extLst>
            </p:cNvPr>
            <p:cNvSpPr>
              <a:spLocks/>
            </p:cNvSpPr>
            <p:nvPr userDrawn="1"/>
          </p:nvSpPr>
          <p:spPr bwMode="auto">
            <a:xfrm>
              <a:off x="178632" y="3955066"/>
              <a:ext cx="11834341" cy="2705260"/>
            </a:xfrm>
            <a:custGeom>
              <a:avLst/>
              <a:gdLst>
                <a:gd name="T0" fmla="*/ 0 w 32870"/>
                <a:gd name="T1" fmla="*/ 2226 h 7510"/>
                <a:gd name="T2" fmla="*/ 0 w 32870"/>
                <a:gd name="T3" fmla="*/ 7510 h 7510"/>
                <a:gd name="T4" fmla="*/ 14422 w 32870"/>
                <a:gd name="T5" fmla="*/ 4695 h 7510"/>
                <a:gd name="T6" fmla="*/ 32870 w 32870"/>
                <a:gd name="T7" fmla="*/ 4690 h 7510"/>
                <a:gd name="T8" fmla="*/ 32870 w 32870"/>
                <a:gd name="T9" fmla="*/ 0 h 7510"/>
                <a:gd name="T10" fmla="*/ 13779 w 32870"/>
                <a:gd name="T11" fmla="*/ 16 h 7510"/>
                <a:gd name="T12" fmla="*/ 0 w 32870"/>
                <a:gd name="T13" fmla="*/ 2226 h 7510"/>
              </a:gdLst>
              <a:ahLst/>
              <a:cxnLst>
                <a:cxn ang="0">
                  <a:pos x="T0" y="T1"/>
                </a:cxn>
                <a:cxn ang="0">
                  <a:pos x="T2" y="T3"/>
                </a:cxn>
                <a:cxn ang="0">
                  <a:pos x="T4" y="T5"/>
                </a:cxn>
                <a:cxn ang="0">
                  <a:pos x="T6" y="T7"/>
                </a:cxn>
                <a:cxn ang="0">
                  <a:pos x="T8" y="T9"/>
                </a:cxn>
                <a:cxn ang="0">
                  <a:pos x="T10" y="T11"/>
                </a:cxn>
                <a:cxn ang="0">
                  <a:pos x="T12" y="T13"/>
                </a:cxn>
              </a:cxnLst>
              <a:rect l="0" t="0" r="r" b="b"/>
              <a:pathLst>
                <a:path w="32870" h="7510">
                  <a:moveTo>
                    <a:pt x="0" y="2226"/>
                  </a:moveTo>
                  <a:lnTo>
                    <a:pt x="0" y="7510"/>
                  </a:lnTo>
                  <a:cubicBezTo>
                    <a:pt x="4241" y="5081"/>
                    <a:pt x="10659" y="4690"/>
                    <a:pt x="14422" y="4695"/>
                  </a:cubicBezTo>
                  <a:cubicBezTo>
                    <a:pt x="15294" y="4696"/>
                    <a:pt x="23963" y="4693"/>
                    <a:pt x="32870" y="4690"/>
                  </a:cubicBezTo>
                  <a:lnTo>
                    <a:pt x="32870" y="0"/>
                  </a:lnTo>
                  <a:cubicBezTo>
                    <a:pt x="23927" y="3"/>
                    <a:pt x="15112" y="8"/>
                    <a:pt x="13779" y="16"/>
                  </a:cubicBezTo>
                  <a:cubicBezTo>
                    <a:pt x="7620" y="56"/>
                    <a:pt x="3156" y="876"/>
                    <a:pt x="0" y="2226"/>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 name="Freeform 13">
              <a:extLst>
                <a:ext uri="{FF2B5EF4-FFF2-40B4-BE49-F238E27FC236}">
                  <a16:creationId xmlns:a16="http://schemas.microsoft.com/office/drawing/2014/main" id="{C7A82CFE-FC2A-469E-AAFA-303040F09FCA}"/>
                </a:ext>
                <a:ext uri="{C183D7F6-B498-43B3-948B-1728B52AA6E4}">
                  <adec:decorative xmlns:adec="http://schemas.microsoft.com/office/drawing/2017/decorative" val="1"/>
                </a:ext>
              </a:extLst>
            </p:cNvPr>
            <p:cNvSpPr>
              <a:spLocks/>
            </p:cNvSpPr>
            <p:nvPr userDrawn="1"/>
          </p:nvSpPr>
          <p:spPr bwMode="auto">
            <a:xfrm>
              <a:off x="178632" y="172167"/>
              <a:ext cx="11834341" cy="4632577"/>
            </a:xfrm>
            <a:custGeom>
              <a:avLst/>
              <a:gdLst>
                <a:gd name="T0" fmla="*/ 0 w 32870"/>
                <a:gd name="T1" fmla="*/ 0 h 12864"/>
                <a:gd name="T2" fmla="*/ 0 w 32870"/>
                <a:gd name="T3" fmla="*/ 12864 h 12864"/>
                <a:gd name="T4" fmla="*/ 13779 w 32870"/>
                <a:gd name="T5" fmla="*/ 10654 h 12864"/>
                <a:gd name="T6" fmla="*/ 32870 w 32870"/>
                <a:gd name="T7" fmla="*/ 10638 h 12864"/>
                <a:gd name="T8" fmla="*/ 32870 w 32870"/>
                <a:gd name="T9" fmla="*/ 0 h 12864"/>
                <a:gd name="T10" fmla="*/ 0 w 32870"/>
                <a:gd name="T11" fmla="*/ 0 h 12864"/>
              </a:gdLst>
              <a:ahLst/>
              <a:cxnLst>
                <a:cxn ang="0">
                  <a:pos x="T0" y="T1"/>
                </a:cxn>
                <a:cxn ang="0">
                  <a:pos x="T2" y="T3"/>
                </a:cxn>
                <a:cxn ang="0">
                  <a:pos x="T4" y="T5"/>
                </a:cxn>
                <a:cxn ang="0">
                  <a:pos x="T6" y="T7"/>
                </a:cxn>
                <a:cxn ang="0">
                  <a:pos x="T8" y="T9"/>
                </a:cxn>
                <a:cxn ang="0">
                  <a:pos x="T10" y="T11"/>
                </a:cxn>
              </a:cxnLst>
              <a:rect l="0" t="0" r="r" b="b"/>
              <a:pathLst>
                <a:path w="32870" h="12864">
                  <a:moveTo>
                    <a:pt x="0" y="0"/>
                  </a:moveTo>
                  <a:lnTo>
                    <a:pt x="0" y="12864"/>
                  </a:lnTo>
                  <a:cubicBezTo>
                    <a:pt x="3156" y="11514"/>
                    <a:pt x="7620" y="10694"/>
                    <a:pt x="13779" y="10654"/>
                  </a:cubicBezTo>
                  <a:cubicBezTo>
                    <a:pt x="15112" y="10646"/>
                    <a:pt x="23927" y="10641"/>
                    <a:pt x="32870" y="10638"/>
                  </a:cubicBezTo>
                  <a:lnTo>
                    <a:pt x="32870" y="0"/>
                  </a:lnTo>
                  <a:lnTo>
                    <a:pt x="0" y="0"/>
                  </a:ln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1519434"/>
            <a:ext cx="7523132" cy="1980640"/>
          </a:xfrm>
        </p:spPr>
        <p:txBody>
          <a:bodyPr anchor="ctr" anchorCtr="0"/>
          <a:lstStyle>
            <a:lvl1pPr>
              <a:lnSpc>
                <a:spcPct val="95000"/>
              </a:lnSpc>
              <a:defRPr sz="4000">
                <a:solidFill>
                  <a:schemeClr val="bg1"/>
                </a:solidFill>
              </a:defRPr>
            </a:lvl1pPr>
          </a:lstStyle>
          <a:p>
            <a:r>
              <a:rPr lang="fi-FI"/>
              <a:t>Väliotsikkosivu </a:t>
            </a:r>
            <a:br>
              <a:rPr lang="fi-FI"/>
            </a:br>
            <a:r>
              <a:rPr lang="fi-FI"/>
              <a:t>esityksen jäsentämiseen </a:t>
            </a:r>
            <a:br>
              <a:rPr lang="fi-FI"/>
            </a:br>
            <a:r>
              <a:rPr lang="fi-FI" err="1"/>
              <a:t>max</a:t>
            </a:r>
            <a:r>
              <a:rPr lang="fi-FI"/>
              <a:t>. 3 riviä</a:t>
            </a:r>
          </a:p>
        </p:txBody>
      </p:sp>
    </p:spTree>
    <p:extLst>
      <p:ext uri="{BB962C8B-B14F-4D97-AF65-F5344CB8AC3E}">
        <p14:creationId xmlns:p14="http://schemas.microsoft.com/office/powerpoint/2010/main" val="1922241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matchingName="Osan ylätunniste 5" preserve="1" userDrawn="1">
  <p:cSld name="Osan ylätunniste 5">
    <p:spTree>
      <p:nvGrpSpPr>
        <p:cNvPr id="1" name=""/>
        <p:cNvGrpSpPr/>
        <p:nvPr/>
      </p:nvGrpSpPr>
      <p:grpSpPr>
        <a:xfrm>
          <a:off x="0" y="0"/>
          <a:ext cx="0" cy="0"/>
          <a:chOff x="0" y="0"/>
          <a:chExt cx="0" cy="0"/>
        </a:xfrm>
      </p:grpSpPr>
      <p:grpSp>
        <p:nvGrpSpPr>
          <p:cNvPr id="8" name="Ryhmä 7">
            <a:extLst>
              <a:ext uri="{FF2B5EF4-FFF2-40B4-BE49-F238E27FC236}">
                <a16:creationId xmlns:a16="http://schemas.microsoft.com/office/drawing/2014/main" id="{699CDD43-C904-4C83-89E3-B4A65DCAA1D9}"/>
              </a:ext>
              <a:ext uri="{C183D7F6-B498-43B3-948B-1728B52AA6E4}">
                <adec:decorative xmlns:adec="http://schemas.microsoft.com/office/drawing/2017/decorative" val="1"/>
              </a:ext>
            </a:extLst>
          </p:cNvPr>
          <p:cNvGrpSpPr/>
          <p:nvPr userDrawn="1"/>
        </p:nvGrpSpPr>
        <p:grpSpPr>
          <a:xfrm>
            <a:off x="178632" y="180000"/>
            <a:ext cx="11834341" cy="6488159"/>
            <a:chOff x="178632" y="172167"/>
            <a:chExt cx="11834341" cy="6488159"/>
          </a:xfrm>
        </p:grpSpPr>
        <p:sp>
          <p:nvSpPr>
            <p:cNvPr id="9" name="Freeform 12">
              <a:extLst>
                <a:ext uri="{FF2B5EF4-FFF2-40B4-BE49-F238E27FC236}">
                  <a16:creationId xmlns:a16="http://schemas.microsoft.com/office/drawing/2014/main" id="{90CE7767-6758-4913-9796-391DDD99B57F}"/>
                </a:ext>
                <a:ext uri="{C183D7F6-B498-43B3-948B-1728B52AA6E4}">
                  <adec:decorative xmlns:adec="http://schemas.microsoft.com/office/drawing/2017/decorative" val="1"/>
                </a:ext>
              </a:extLst>
            </p:cNvPr>
            <p:cNvSpPr>
              <a:spLocks/>
            </p:cNvSpPr>
            <p:nvPr userDrawn="1"/>
          </p:nvSpPr>
          <p:spPr bwMode="auto">
            <a:xfrm>
              <a:off x="178632" y="3955066"/>
              <a:ext cx="11834341" cy="2705260"/>
            </a:xfrm>
            <a:custGeom>
              <a:avLst/>
              <a:gdLst>
                <a:gd name="T0" fmla="*/ 0 w 32870"/>
                <a:gd name="T1" fmla="*/ 2226 h 7510"/>
                <a:gd name="T2" fmla="*/ 0 w 32870"/>
                <a:gd name="T3" fmla="*/ 7510 h 7510"/>
                <a:gd name="T4" fmla="*/ 14422 w 32870"/>
                <a:gd name="T5" fmla="*/ 4695 h 7510"/>
                <a:gd name="T6" fmla="*/ 32870 w 32870"/>
                <a:gd name="T7" fmla="*/ 4690 h 7510"/>
                <a:gd name="T8" fmla="*/ 32870 w 32870"/>
                <a:gd name="T9" fmla="*/ 0 h 7510"/>
                <a:gd name="T10" fmla="*/ 13779 w 32870"/>
                <a:gd name="T11" fmla="*/ 16 h 7510"/>
                <a:gd name="T12" fmla="*/ 0 w 32870"/>
                <a:gd name="T13" fmla="*/ 2226 h 7510"/>
              </a:gdLst>
              <a:ahLst/>
              <a:cxnLst>
                <a:cxn ang="0">
                  <a:pos x="T0" y="T1"/>
                </a:cxn>
                <a:cxn ang="0">
                  <a:pos x="T2" y="T3"/>
                </a:cxn>
                <a:cxn ang="0">
                  <a:pos x="T4" y="T5"/>
                </a:cxn>
                <a:cxn ang="0">
                  <a:pos x="T6" y="T7"/>
                </a:cxn>
                <a:cxn ang="0">
                  <a:pos x="T8" y="T9"/>
                </a:cxn>
                <a:cxn ang="0">
                  <a:pos x="T10" y="T11"/>
                </a:cxn>
                <a:cxn ang="0">
                  <a:pos x="T12" y="T13"/>
                </a:cxn>
              </a:cxnLst>
              <a:rect l="0" t="0" r="r" b="b"/>
              <a:pathLst>
                <a:path w="32870" h="7510">
                  <a:moveTo>
                    <a:pt x="0" y="2226"/>
                  </a:moveTo>
                  <a:lnTo>
                    <a:pt x="0" y="7510"/>
                  </a:lnTo>
                  <a:cubicBezTo>
                    <a:pt x="4241" y="5081"/>
                    <a:pt x="10659" y="4690"/>
                    <a:pt x="14422" y="4695"/>
                  </a:cubicBezTo>
                  <a:cubicBezTo>
                    <a:pt x="15294" y="4696"/>
                    <a:pt x="23963" y="4693"/>
                    <a:pt x="32870" y="4690"/>
                  </a:cubicBezTo>
                  <a:lnTo>
                    <a:pt x="32870" y="0"/>
                  </a:lnTo>
                  <a:cubicBezTo>
                    <a:pt x="23927" y="3"/>
                    <a:pt x="15112" y="8"/>
                    <a:pt x="13779" y="16"/>
                  </a:cubicBezTo>
                  <a:cubicBezTo>
                    <a:pt x="7620" y="56"/>
                    <a:pt x="3156" y="876"/>
                    <a:pt x="0" y="2226"/>
                  </a:cubicBezTo>
                  <a:close/>
                </a:path>
              </a:pathLst>
            </a:custGeom>
            <a:solidFill>
              <a:srgbClr val="B6B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 name="Freeform 13">
              <a:extLst>
                <a:ext uri="{FF2B5EF4-FFF2-40B4-BE49-F238E27FC236}">
                  <a16:creationId xmlns:a16="http://schemas.microsoft.com/office/drawing/2014/main" id="{C7A82CFE-FC2A-469E-AAFA-303040F09FCA}"/>
                </a:ext>
                <a:ext uri="{C183D7F6-B498-43B3-948B-1728B52AA6E4}">
                  <adec:decorative xmlns:adec="http://schemas.microsoft.com/office/drawing/2017/decorative" val="1"/>
                </a:ext>
              </a:extLst>
            </p:cNvPr>
            <p:cNvSpPr>
              <a:spLocks/>
            </p:cNvSpPr>
            <p:nvPr userDrawn="1"/>
          </p:nvSpPr>
          <p:spPr bwMode="auto">
            <a:xfrm>
              <a:off x="178632" y="172167"/>
              <a:ext cx="11834341" cy="4632577"/>
            </a:xfrm>
            <a:custGeom>
              <a:avLst/>
              <a:gdLst>
                <a:gd name="T0" fmla="*/ 0 w 32870"/>
                <a:gd name="T1" fmla="*/ 0 h 12864"/>
                <a:gd name="T2" fmla="*/ 0 w 32870"/>
                <a:gd name="T3" fmla="*/ 12864 h 12864"/>
                <a:gd name="T4" fmla="*/ 13779 w 32870"/>
                <a:gd name="T5" fmla="*/ 10654 h 12864"/>
                <a:gd name="T6" fmla="*/ 32870 w 32870"/>
                <a:gd name="T7" fmla="*/ 10638 h 12864"/>
                <a:gd name="T8" fmla="*/ 32870 w 32870"/>
                <a:gd name="T9" fmla="*/ 0 h 12864"/>
                <a:gd name="T10" fmla="*/ 0 w 32870"/>
                <a:gd name="T11" fmla="*/ 0 h 12864"/>
              </a:gdLst>
              <a:ahLst/>
              <a:cxnLst>
                <a:cxn ang="0">
                  <a:pos x="T0" y="T1"/>
                </a:cxn>
                <a:cxn ang="0">
                  <a:pos x="T2" y="T3"/>
                </a:cxn>
                <a:cxn ang="0">
                  <a:pos x="T4" y="T5"/>
                </a:cxn>
                <a:cxn ang="0">
                  <a:pos x="T6" y="T7"/>
                </a:cxn>
                <a:cxn ang="0">
                  <a:pos x="T8" y="T9"/>
                </a:cxn>
                <a:cxn ang="0">
                  <a:pos x="T10" y="T11"/>
                </a:cxn>
              </a:cxnLst>
              <a:rect l="0" t="0" r="r" b="b"/>
              <a:pathLst>
                <a:path w="32870" h="12864">
                  <a:moveTo>
                    <a:pt x="0" y="0"/>
                  </a:moveTo>
                  <a:lnTo>
                    <a:pt x="0" y="12864"/>
                  </a:lnTo>
                  <a:cubicBezTo>
                    <a:pt x="3156" y="11514"/>
                    <a:pt x="7620" y="10694"/>
                    <a:pt x="13779" y="10654"/>
                  </a:cubicBezTo>
                  <a:cubicBezTo>
                    <a:pt x="15112" y="10646"/>
                    <a:pt x="23927" y="10641"/>
                    <a:pt x="32870" y="10638"/>
                  </a:cubicBezTo>
                  <a:lnTo>
                    <a:pt x="32870" y="0"/>
                  </a:lnTo>
                  <a:lnTo>
                    <a:pt x="0" y="0"/>
                  </a:lnTo>
                  <a:close/>
                </a:path>
              </a:pathLst>
            </a:custGeom>
            <a:solidFill>
              <a:srgbClr val="5A81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gr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1519434"/>
            <a:ext cx="7523132" cy="1980640"/>
          </a:xfrm>
        </p:spPr>
        <p:txBody>
          <a:bodyPr anchor="ctr" anchorCtr="0"/>
          <a:lstStyle>
            <a:lvl1pPr>
              <a:lnSpc>
                <a:spcPct val="95000"/>
              </a:lnSpc>
              <a:defRPr sz="4000">
                <a:solidFill>
                  <a:schemeClr val="bg1"/>
                </a:solidFill>
              </a:defRPr>
            </a:lvl1pPr>
          </a:lstStyle>
          <a:p>
            <a:r>
              <a:rPr lang="fi-FI"/>
              <a:t>Väliotsikkosivu </a:t>
            </a:r>
            <a:br>
              <a:rPr lang="fi-FI"/>
            </a:br>
            <a:r>
              <a:rPr lang="fi-FI"/>
              <a:t>esityksen jäsentämiseen </a:t>
            </a:r>
            <a:br>
              <a:rPr lang="fi-FI"/>
            </a:br>
            <a:r>
              <a:rPr lang="fi-FI" err="1"/>
              <a:t>max</a:t>
            </a:r>
            <a:r>
              <a:rPr lang="fi-FI"/>
              <a:t>. 3 riviä</a:t>
            </a:r>
          </a:p>
        </p:txBody>
      </p:sp>
    </p:spTree>
    <p:extLst>
      <p:ext uri="{BB962C8B-B14F-4D97-AF65-F5344CB8AC3E}">
        <p14:creationId xmlns:p14="http://schemas.microsoft.com/office/powerpoint/2010/main" val="3541761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matchingName="Osan ylätunniste 6" preserve="1" userDrawn="1">
  <p:cSld name="Osan ylätunniste 6">
    <p:spTree>
      <p:nvGrpSpPr>
        <p:cNvPr id="1" name=""/>
        <p:cNvGrpSpPr/>
        <p:nvPr/>
      </p:nvGrpSpPr>
      <p:grpSpPr>
        <a:xfrm>
          <a:off x="0" y="0"/>
          <a:ext cx="0" cy="0"/>
          <a:chOff x="0" y="0"/>
          <a:chExt cx="0" cy="0"/>
        </a:xfrm>
      </p:grpSpPr>
      <p:sp>
        <p:nvSpPr>
          <p:cNvPr id="9" name="Freeform 12">
            <a:extLst>
              <a:ext uri="{FF2B5EF4-FFF2-40B4-BE49-F238E27FC236}">
                <a16:creationId xmlns:a16="http://schemas.microsoft.com/office/drawing/2014/main" id="{90CE7767-6758-4913-9796-391DDD99B57F}"/>
              </a:ext>
              <a:ext uri="{C183D7F6-B498-43B3-948B-1728B52AA6E4}">
                <adec:decorative xmlns:adec="http://schemas.microsoft.com/office/drawing/2017/decorative" val="1"/>
              </a:ext>
            </a:extLst>
          </p:cNvPr>
          <p:cNvSpPr>
            <a:spLocks/>
          </p:cNvSpPr>
          <p:nvPr userDrawn="1"/>
        </p:nvSpPr>
        <p:spPr bwMode="auto">
          <a:xfrm>
            <a:off x="178632" y="3962899"/>
            <a:ext cx="11834341" cy="2705260"/>
          </a:xfrm>
          <a:custGeom>
            <a:avLst/>
            <a:gdLst>
              <a:gd name="T0" fmla="*/ 0 w 32870"/>
              <a:gd name="T1" fmla="*/ 2226 h 7510"/>
              <a:gd name="T2" fmla="*/ 0 w 32870"/>
              <a:gd name="T3" fmla="*/ 7510 h 7510"/>
              <a:gd name="T4" fmla="*/ 14422 w 32870"/>
              <a:gd name="T5" fmla="*/ 4695 h 7510"/>
              <a:gd name="T6" fmla="*/ 32870 w 32870"/>
              <a:gd name="T7" fmla="*/ 4690 h 7510"/>
              <a:gd name="T8" fmla="*/ 32870 w 32870"/>
              <a:gd name="T9" fmla="*/ 0 h 7510"/>
              <a:gd name="T10" fmla="*/ 13779 w 32870"/>
              <a:gd name="T11" fmla="*/ 16 h 7510"/>
              <a:gd name="T12" fmla="*/ 0 w 32870"/>
              <a:gd name="T13" fmla="*/ 2226 h 7510"/>
            </a:gdLst>
            <a:ahLst/>
            <a:cxnLst>
              <a:cxn ang="0">
                <a:pos x="T0" y="T1"/>
              </a:cxn>
              <a:cxn ang="0">
                <a:pos x="T2" y="T3"/>
              </a:cxn>
              <a:cxn ang="0">
                <a:pos x="T4" y="T5"/>
              </a:cxn>
              <a:cxn ang="0">
                <a:pos x="T6" y="T7"/>
              </a:cxn>
              <a:cxn ang="0">
                <a:pos x="T8" y="T9"/>
              </a:cxn>
              <a:cxn ang="0">
                <a:pos x="T10" y="T11"/>
              </a:cxn>
              <a:cxn ang="0">
                <a:pos x="T12" y="T13"/>
              </a:cxn>
            </a:cxnLst>
            <a:rect l="0" t="0" r="r" b="b"/>
            <a:pathLst>
              <a:path w="32870" h="7510">
                <a:moveTo>
                  <a:pt x="0" y="2226"/>
                </a:moveTo>
                <a:lnTo>
                  <a:pt x="0" y="7510"/>
                </a:lnTo>
                <a:cubicBezTo>
                  <a:pt x="4241" y="5081"/>
                  <a:pt x="10659" y="4690"/>
                  <a:pt x="14422" y="4695"/>
                </a:cubicBezTo>
                <a:cubicBezTo>
                  <a:pt x="15294" y="4696"/>
                  <a:pt x="23963" y="4693"/>
                  <a:pt x="32870" y="4690"/>
                </a:cubicBezTo>
                <a:lnTo>
                  <a:pt x="32870" y="0"/>
                </a:lnTo>
                <a:cubicBezTo>
                  <a:pt x="23927" y="3"/>
                  <a:pt x="15112" y="8"/>
                  <a:pt x="13779" y="16"/>
                </a:cubicBezTo>
                <a:cubicBezTo>
                  <a:pt x="7620" y="56"/>
                  <a:pt x="3156" y="876"/>
                  <a:pt x="0" y="2226"/>
                </a:cubicBezTo>
                <a:close/>
              </a:path>
            </a:pathLst>
          </a:custGeom>
          <a:solidFill>
            <a:srgbClr val="D964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0" name="Freeform 13">
            <a:extLst>
              <a:ext uri="{FF2B5EF4-FFF2-40B4-BE49-F238E27FC236}">
                <a16:creationId xmlns:a16="http://schemas.microsoft.com/office/drawing/2014/main" id="{C7A82CFE-FC2A-469E-AAFA-303040F09FCA}"/>
              </a:ext>
              <a:ext uri="{C183D7F6-B498-43B3-948B-1728B52AA6E4}">
                <adec:decorative xmlns:adec="http://schemas.microsoft.com/office/drawing/2017/decorative" val="1"/>
              </a:ext>
            </a:extLst>
          </p:cNvPr>
          <p:cNvSpPr>
            <a:spLocks/>
          </p:cNvSpPr>
          <p:nvPr userDrawn="1"/>
        </p:nvSpPr>
        <p:spPr bwMode="auto">
          <a:xfrm>
            <a:off x="178632" y="180000"/>
            <a:ext cx="11834341" cy="4632577"/>
          </a:xfrm>
          <a:custGeom>
            <a:avLst/>
            <a:gdLst>
              <a:gd name="T0" fmla="*/ 0 w 32870"/>
              <a:gd name="T1" fmla="*/ 0 h 12864"/>
              <a:gd name="T2" fmla="*/ 0 w 32870"/>
              <a:gd name="T3" fmla="*/ 12864 h 12864"/>
              <a:gd name="T4" fmla="*/ 13779 w 32870"/>
              <a:gd name="T5" fmla="*/ 10654 h 12864"/>
              <a:gd name="T6" fmla="*/ 32870 w 32870"/>
              <a:gd name="T7" fmla="*/ 10638 h 12864"/>
              <a:gd name="T8" fmla="*/ 32870 w 32870"/>
              <a:gd name="T9" fmla="*/ 0 h 12864"/>
              <a:gd name="T10" fmla="*/ 0 w 32870"/>
              <a:gd name="T11" fmla="*/ 0 h 12864"/>
            </a:gdLst>
            <a:ahLst/>
            <a:cxnLst>
              <a:cxn ang="0">
                <a:pos x="T0" y="T1"/>
              </a:cxn>
              <a:cxn ang="0">
                <a:pos x="T2" y="T3"/>
              </a:cxn>
              <a:cxn ang="0">
                <a:pos x="T4" y="T5"/>
              </a:cxn>
              <a:cxn ang="0">
                <a:pos x="T6" y="T7"/>
              </a:cxn>
              <a:cxn ang="0">
                <a:pos x="T8" y="T9"/>
              </a:cxn>
              <a:cxn ang="0">
                <a:pos x="T10" y="T11"/>
              </a:cxn>
            </a:cxnLst>
            <a:rect l="0" t="0" r="r" b="b"/>
            <a:pathLst>
              <a:path w="32870" h="12864">
                <a:moveTo>
                  <a:pt x="0" y="0"/>
                </a:moveTo>
                <a:lnTo>
                  <a:pt x="0" y="12864"/>
                </a:lnTo>
                <a:cubicBezTo>
                  <a:pt x="3156" y="11514"/>
                  <a:pt x="7620" y="10694"/>
                  <a:pt x="13779" y="10654"/>
                </a:cubicBezTo>
                <a:cubicBezTo>
                  <a:pt x="15112" y="10646"/>
                  <a:pt x="23927" y="10641"/>
                  <a:pt x="32870" y="10638"/>
                </a:cubicBezTo>
                <a:lnTo>
                  <a:pt x="32870" y="0"/>
                </a:lnTo>
                <a:lnTo>
                  <a:pt x="0" y="0"/>
                </a:lnTo>
                <a:close/>
              </a:path>
            </a:pathLst>
          </a:custGeom>
          <a:solidFill>
            <a:srgbClr val="BE5A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1519434"/>
            <a:ext cx="7523132" cy="1980640"/>
          </a:xfrm>
        </p:spPr>
        <p:txBody>
          <a:bodyPr anchor="ctr" anchorCtr="0"/>
          <a:lstStyle>
            <a:lvl1pPr>
              <a:lnSpc>
                <a:spcPct val="95000"/>
              </a:lnSpc>
              <a:defRPr sz="4000">
                <a:solidFill>
                  <a:schemeClr val="bg1"/>
                </a:solidFill>
              </a:defRPr>
            </a:lvl1pPr>
          </a:lstStyle>
          <a:p>
            <a:r>
              <a:rPr lang="fi-FI"/>
              <a:t>Väliotsikkosivu </a:t>
            </a:r>
            <a:br>
              <a:rPr lang="fi-FI"/>
            </a:br>
            <a:r>
              <a:rPr lang="fi-FI"/>
              <a:t>esityksen jäsentämiseen </a:t>
            </a:r>
            <a:br>
              <a:rPr lang="fi-FI"/>
            </a:br>
            <a:r>
              <a:rPr lang="fi-FI" err="1"/>
              <a:t>max</a:t>
            </a:r>
            <a:r>
              <a:rPr lang="fi-FI"/>
              <a:t>. 3 riviä</a:t>
            </a:r>
          </a:p>
        </p:txBody>
      </p:sp>
    </p:spTree>
    <p:extLst>
      <p:ext uri="{BB962C8B-B14F-4D97-AF65-F5344CB8AC3E}">
        <p14:creationId xmlns:p14="http://schemas.microsoft.com/office/powerpoint/2010/main" val="2214438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Osan ylätunniste kuva" preserve="1" userDrawn="1">
  <p:cSld name="Osan ylätunniste kuva">
    <p:spTree>
      <p:nvGrpSpPr>
        <p:cNvPr id="1" name=""/>
        <p:cNvGrpSpPr/>
        <p:nvPr/>
      </p:nvGrpSpPr>
      <p:grpSpPr>
        <a:xfrm>
          <a:off x="0" y="0"/>
          <a:ext cx="0" cy="0"/>
          <a:chOff x="0" y="0"/>
          <a:chExt cx="0" cy="0"/>
        </a:xfrm>
      </p:grpSpPr>
      <p:sp>
        <p:nvSpPr>
          <p:cNvPr id="5" name="Suorakulmio 9">
            <a:extLst>
              <a:ext uri="{FF2B5EF4-FFF2-40B4-BE49-F238E27FC236}">
                <a16:creationId xmlns:a16="http://schemas.microsoft.com/office/drawing/2014/main" id="{14FF7E8B-4CDF-4CAC-83E6-4DFDE038A75E}"/>
              </a:ext>
              <a:ext uri="{C183D7F6-B498-43B3-948B-1728B52AA6E4}">
                <adec:decorative xmlns:adec="http://schemas.microsoft.com/office/drawing/2017/decorative" val="1"/>
              </a:ext>
            </a:extLst>
          </p:cNvPr>
          <p:cNvSpPr/>
          <p:nvPr userDrawn="1"/>
        </p:nvSpPr>
        <p:spPr>
          <a:xfrm>
            <a:off x="180000" y="180000"/>
            <a:ext cx="9144000" cy="6498000"/>
          </a:xfrm>
          <a:custGeom>
            <a:avLst/>
            <a:gdLst>
              <a:gd name="connsiteX0" fmla="*/ 0 w 9144000"/>
              <a:gd name="connsiteY0" fmla="*/ 0 h 6513234"/>
              <a:gd name="connsiteX1" fmla="*/ 9144000 w 9144000"/>
              <a:gd name="connsiteY1" fmla="*/ 0 h 6513234"/>
              <a:gd name="connsiteX2" fmla="*/ 9144000 w 9144000"/>
              <a:gd name="connsiteY2" fmla="*/ 6513234 h 6513234"/>
              <a:gd name="connsiteX3" fmla="*/ 0 w 9144000"/>
              <a:gd name="connsiteY3" fmla="*/ 6513234 h 6513234"/>
              <a:gd name="connsiteX4" fmla="*/ 0 w 9144000"/>
              <a:gd name="connsiteY4" fmla="*/ 0 h 6513234"/>
              <a:gd name="connsiteX0" fmla="*/ 0 w 9144000"/>
              <a:gd name="connsiteY0" fmla="*/ 0 h 6514355"/>
              <a:gd name="connsiteX1" fmla="*/ 9144000 w 9144000"/>
              <a:gd name="connsiteY1" fmla="*/ 0 h 6514355"/>
              <a:gd name="connsiteX2" fmla="*/ 9144000 w 9144000"/>
              <a:gd name="connsiteY2" fmla="*/ 6513234 h 6514355"/>
              <a:gd name="connsiteX3" fmla="*/ 7431035 w 9144000"/>
              <a:gd name="connsiteY3" fmla="*/ 6514355 h 6514355"/>
              <a:gd name="connsiteX4" fmla="*/ 0 w 9144000"/>
              <a:gd name="connsiteY4" fmla="*/ 6513234 h 6514355"/>
              <a:gd name="connsiteX5" fmla="*/ 0 w 9144000"/>
              <a:gd name="connsiteY5" fmla="*/ 0 h 6514355"/>
              <a:gd name="connsiteX0" fmla="*/ 0 w 9144000"/>
              <a:gd name="connsiteY0" fmla="*/ 0 h 6514355"/>
              <a:gd name="connsiteX1" fmla="*/ 9144000 w 9144000"/>
              <a:gd name="connsiteY1" fmla="*/ 0 h 6514355"/>
              <a:gd name="connsiteX2" fmla="*/ 7431035 w 9144000"/>
              <a:gd name="connsiteY2" fmla="*/ 6514355 h 6514355"/>
              <a:gd name="connsiteX3" fmla="*/ 0 w 9144000"/>
              <a:gd name="connsiteY3" fmla="*/ 6513234 h 6514355"/>
              <a:gd name="connsiteX4" fmla="*/ 0 w 9144000"/>
              <a:gd name="connsiteY4" fmla="*/ 0 h 6514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514355">
                <a:moveTo>
                  <a:pt x="0" y="0"/>
                </a:moveTo>
                <a:lnTo>
                  <a:pt x="9144000" y="0"/>
                </a:lnTo>
                <a:lnTo>
                  <a:pt x="7431035" y="6514355"/>
                </a:lnTo>
                <a:lnTo>
                  <a:pt x="0" y="6513234"/>
                </a:lnTo>
                <a:lnTo>
                  <a:pt x="0" y="0"/>
                </a:lnTo>
                <a:close/>
              </a:path>
            </a:pathLst>
          </a:custGeom>
          <a:solidFill>
            <a:srgbClr val="0038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2451851"/>
            <a:ext cx="6450106" cy="1980640"/>
          </a:xfrm>
        </p:spPr>
        <p:txBody>
          <a:bodyPr anchor="ctr" anchorCtr="0"/>
          <a:lstStyle>
            <a:lvl1pPr>
              <a:lnSpc>
                <a:spcPct val="95000"/>
              </a:lnSpc>
              <a:defRPr sz="4000">
                <a:solidFill>
                  <a:schemeClr val="bg1"/>
                </a:solidFill>
              </a:defRPr>
            </a:lvl1pPr>
          </a:lstStyle>
          <a:p>
            <a:r>
              <a:rPr lang="en-GB" err="1"/>
              <a:t>Kuvallinen</a:t>
            </a:r>
            <a:r>
              <a:rPr lang="en-GB"/>
              <a:t> </a:t>
            </a:r>
            <a:br>
              <a:rPr lang="en-GB"/>
            </a:br>
            <a:r>
              <a:rPr lang="en-GB" err="1"/>
              <a:t>väliotsikkosivu</a:t>
            </a:r>
            <a:r>
              <a:rPr lang="en-GB"/>
              <a:t> </a:t>
            </a:r>
            <a:r>
              <a:rPr lang="en-GB" err="1"/>
              <a:t>esityksen</a:t>
            </a:r>
            <a:r>
              <a:rPr lang="en-GB"/>
              <a:t> </a:t>
            </a:r>
            <a:r>
              <a:rPr lang="en-GB" err="1"/>
              <a:t>jäsentämiseen</a:t>
            </a:r>
            <a:endParaRPr lang="fi-FI"/>
          </a:p>
        </p:txBody>
      </p:sp>
      <p:sp>
        <p:nvSpPr>
          <p:cNvPr id="9" name="Kuvan paikkamerkki 2">
            <a:extLst>
              <a:ext uri="{FF2B5EF4-FFF2-40B4-BE49-F238E27FC236}">
                <a16:creationId xmlns:a16="http://schemas.microsoft.com/office/drawing/2014/main" id="{A1F3F41D-5BA7-4AD3-81B0-B935DD9EF47D}"/>
              </a:ext>
              <a:ext uri="{C183D7F6-B498-43B3-948B-1728B52AA6E4}">
                <adec:decorative xmlns:adec="http://schemas.microsoft.com/office/drawing/2017/decorative" val="1"/>
              </a:ext>
            </a:extLst>
          </p:cNvPr>
          <p:cNvSpPr>
            <a:spLocks noGrp="1"/>
          </p:cNvSpPr>
          <p:nvPr>
            <p:ph type="pic" idx="13" hasCustomPrompt="1"/>
          </p:nvPr>
        </p:nvSpPr>
        <p:spPr>
          <a:xfrm>
            <a:off x="7601865" y="180000"/>
            <a:ext cx="4410734" cy="6498000"/>
          </a:xfrm>
          <a:custGeom>
            <a:avLst/>
            <a:gdLst>
              <a:gd name="connsiteX0" fmla="*/ 0 w 4408944"/>
              <a:gd name="connsiteY0" fmla="*/ 0 h 6488358"/>
              <a:gd name="connsiteX1" fmla="*/ 4408944 w 4408944"/>
              <a:gd name="connsiteY1" fmla="*/ 0 h 6488358"/>
              <a:gd name="connsiteX2" fmla="*/ 4408944 w 4408944"/>
              <a:gd name="connsiteY2" fmla="*/ 6488358 h 6488358"/>
              <a:gd name="connsiteX3" fmla="*/ 0 w 4408944"/>
              <a:gd name="connsiteY3" fmla="*/ 6488358 h 6488358"/>
              <a:gd name="connsiteX4" fmla="*/ 0 w 4408944"/>
              <a:gd name="connsiteY4" fmla="*/ 0 h 6488358"/>
              <a:gd name="connsiteX0" fmla="*/ 0 w 4408944"/>
              <a:gd name="connsiteY0" fmla="*/ 2612 h 6490970"/>
              <a:gd name="connsiteX1" fmla="*/ 1703017 w 4408944"/>
              <a:gd name="connsiteY1" fmla="*/ 0 h 6490970"/>
              <a:gd name="connsiteX2" fmla="*/ 4408944 w 4408944"/>
              <a:gd name="connsiteY2" fmla="*/ 2612 h 6490970"/>
              <a:gd name="connsiteX3" fmla="*/ 4408944 w 4408944"/>
              <a:gd name="connsiteY3" fmla="*/ 6490970 h 6490970"/>
              <a:gd name="connsiteX4" fmla="*/ 0 w 4408944"/>
              <a:gd name="connsiteY4" fmla="*/ 6490970 h 6490970"/>
              <a:gd name="connsiteX5" fmla="*/ 0 w 4408944"/>
              <a:gd name="connsiteY5" fmla="*/ 2612 h 6490970"/>
              <a:gd name="connsiteX0" fmla="*/ 399196 w 4808140"/>
              <a:gd name="connsiteY0" fmla="*/ 481490 h 6969848"/>
              <a:gd name="connsiteX1" fmla="*/ 2102213 w 4808140"/>
              <a:gd name="connsiteY1" fmla="*/ 478878 h 6969848"/>
              <a:gd name="connsiteX2" fmla="*/ 4808140 w 4808140"/>
              <a:gd name="connsiteY2" fmla="*/ 481490 h 6969848"/>
              <a:gd name="connsiteX3" fmla="*/ 4808140 w 4808140"/>
              <a:gd name="connsiteY3" fmla="*/ 6969848 h 6969848"/>
              <a:gd name="connsiteX4" fmla="*/ 399196 w 4808140"/>
              <a:gd name="connsiteY4" fmla="*/ 6969848 h 6969848"/>
              <a:gd name="connsiteX5" fmla="*/ 399196 w 4808140"/>
              <a:gd name="connsiteY5" fmla="*/ 481490 h 6969848"/>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420890 w 4410734"/>
              <a:gd name="connsiteY0" fmla="*/ 2450537 h 6490970"/>
              <a:gd name="connsiteX1" fmla="*/ 1704807 w 4410734"/>
              <a:gd name="connsiteY1" fmla="*/ 0 h 6490970"/>
              <a:gd name="connsiteX2" fmla="*/ 4410734 w 4410734"/>
              <a:gd name="connsiteY2" fmla="*/ 2612 h 6490970"/>
              <a:gd name="connsiteX3" fmla="*/ 4410734 w 4410734"/>
              <a:gd name="connsiteY3" fmla="*/ 6490970 h 6490970"/>
              <a:gd name="connsiteX4" fmla="*/ 1790 w 4410734"/>
              <a:gd name="connsiteY4" fmla="*/ 6490970 h 6490970"/>
              <a:gd name="connsiteX5" fmla="*/ 420890 w 4410734"/>
              <a:gd name="connsiteY5" fmla="*/ 2450537 h 649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0734" h="6490970">
                <a:moveTo>
                  <a:pt x="420890" y="2450537"/>
                </a:moveTo>
                <a:cubicBezTo>
                  <a:pt x="704726" y="1368709"/>
                  <a:pt x="1192233" y="476250"/>
                  <a:pt x="1704807" y="0"/>
                </a:cubicBezTo>
                <a:lnTo>
                  <a:pt x="4410734" y="2612"/>
                </a:lnTo>
                <a:lnTo>
                  <a:pt x="4410734" y="6490970"/>
                </a:lnTo>
                <a:lnTo>
                  <a:pt x="1790" y="6490970"/>
                </a:lnTo>
                <a:cubicBezTo>
                  <a:pt x="-18659" y="5206377"/>
                  <a:pt x="137054" y="3532365"/>
                  <a:pt x="420890" y="2450537"/>
                </a:cubicBezTo>
                <a:close/>
              </a:path>
            </a:pathLst>
          </a:custGeo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a:t>
            </a:r>
            <a:br>
              <a:rPr lang="fi-FI"/>
            </a:br>
            <a:r>
              <a:rPr lang="fi-FI"/>
              <a:t>tai valitsemalla </a:t>
            </a:r>
            <a:r>
              <a:rPr lang="fi-FI" err="1"/>
              <a:t>Kameleonin</a:t>
            </a:r>
            <a:r>
              <a:rPr lang="fi-FI"/>
              <a:t> Kuvagalleriasta</a:t>
            </a:r>
            <a:br>
              <a:rPr lang="fi-FI"/>
            </a:br>
            <a:br>
              <a:rPr lang="fi-FI"/>
            </a:br>
            <a:r>
              <a:rPr lang="fi-FI"/>
              <a:t>Voit vaihtaa kuvan Kuvagalleriasta</a:t>
            </a:r>
            <a:br>
              <a:rPr lang="fi-FI"/>
            </a:br>
            <a:r>
              <a:rPr lang="fi-FI"/>
              <a:t>tai poistamalla kuvan ja lisäämällä uuden kuvan napsauttamalla kuvaketta</a:t>
            </a:r>
          </a:p>
        </p:txBody>
      </p:sp>
    </p:spTree>
    <p:extLst>
      <p:ext uri="{BB962C8B-B14F-4D97-AF65-F5344CB8AC3E}">
        <p14:creationId xmlns:p14="http://schemas.microsoft.com/office/powerpoint/2010/main" val="160904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matchingName="Osan ylätunniste kuva 2" preserve="1" userDrawn="1">
  <p:cSld name="Osan ylätunniste kuva 2">
    <p:spTree>
      <p:nvGrpSpPr>
        <p:cNvPr id="1" name=""/>
        <p:cNvGrpSpPr/>
        <p:nvPr/>
      </p:nvGrpSpPr>
      <p:grpSpPr>
        <a:xfrm>
          <a:off x="0" y="0"/>
          <a:ext cx="0" cy="0"/>
          <a:chOff x="0" y="0"/>
          <a:chExt cx="0" cy="0"/>
        </a:xfrm>
      </p:grpSpPr>
      <p:sp>
        <p:nvSpPr>
          <p:cNvPr id="6" name="Suorakulmio 9">
            <a:extLst>
              <a:ext uri="{FF2B5EF4-FFF2-40B4-BE49-F238E27FC236}">
                <a16:creationId xmlns:a16="http://schemas.microsoft.com/office/drawing/2014/main" id="{86227721-48B2-43B3-8526-34B0C73A1CBF}"/>
              </a:ext>
              <a:ext uri="{C183D7F6-B498-43B3-948B-1728B52AA6E4}">
                <adec:decorative xmlns:adec="http://schemas.microsoft.com/office/drawing/2017/decorative" val="1"/>
              </a:ext>
            </a:extLst>
          </p:cNvPr>
          <p:cNvSpPr/>
          <p:nvPr userDrawn="1"/>
        </p:nvSpPr>
        <p:spPr>
          <a:xfrm>
            <a:off x="180000" y="180000"/>
            <a:ext cx="9144000" cy="6498000"/>
          </a:xfrm>
          <a:custGeom>
            <a:avLst/>
            <a:gdLst>
              <a:gd name="connsiteX0" fmla="*/ 0 w 9144000"/>
              <a:gd name="connsiteY0" fmla="*/ 0 h 6513234"/>
              <a:gd name="connsiteX1" fmla="*/ 9144000 w 9144000"/>
              <a:gd name="connsiteY1" fmla="*/ 0 h 6513234"/>
              <a:gd name="connsiteX2" fmla="*/ 9144000 w 9144000"/>
              <a:gd name="connsiteY2" fmla="*/ 6513234 h 6513234"/>
              <a:gd name="connsiteX3" fmla="*/ 0 w 9144000"/>
              <a:gd name="connsiteY3" fmla="*/ 6513234 h 6513234"/>
              <a:gd name="connsiteX4" fmla="*/ 0 w 9144000"/>
              <a:gd name="connsiteY4" fmla="*/ 0 h 6513234"/>
              <a:gd name="connsiteX0" fmla="*/ 0 w 9144000"/>
              <a:gd name="connsiteY0" fmla="*/ 0 h 6514355"/>
              <a:gd name="connsiteX1" fmla="*/ 9144000 w 9144000"/>
              <a:gd name="connsiteY1" fmla="*/ 0 h 6514355"/>
              <a:gd name="connsiteX2" fmla="*/ 9144000 w 9144000"/>
              <a:gd name="connsiteY2" fmla="*/ 6513234 h 6514355"/>
              <a:gd name="connsiteX3" fmla="*/ 7431035 w 9144000"/>
              <a:gd name="connsiteY3" fmla="*/ 6514355 h 6514355"/>
              <a:gd name="connsiteX4" fmla="*/ 0 w 9144000"/>
              <a:gd name="connsiteY4" fmla="*/ 6513234 h 6514355"/>
              <a:gd name="connsiteX5" fmla="*/ 0 w 9144000"/>
              <a:gd name="connsiteY5" fmla="*/ 0 h 6514355"/>
              <a:gd name="connsiteX0" fmla="*/ 0 w 9144000"/>
              <a:gd name="connsiteY0" fmla="*/ 0 h 6514355"/>
              <a:gd name="connsiteX1" fmla="*/ 9144000 w 9144000"/>
              <a:gd name="connsiteY1" fmla="*/ 0 h 6514355"/>
              <a:gd name="connsiteX2" fmla="*/ 7431035 w 9144000"/>
              <a:gd name="connsiteY2" fmla="*/ 6514355 h 6514355"/>
              <a:gd name="connsiteX3" fmla="*/ 0 w 9144000"/>
              <a:gd name="connsiteY3" fmla="*/ 6513234 h 6514355"/>
              <a:gd name="connsiteX4" fmla="*/ 0 w 9144000"/>
              <a:gd name="connsiteY4" fmla="*/ 0 h 6514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514355">
                <a:moveTo>
                  <a:pt x="0" y="0"/>
                </a:moveTo>
                <a:lnTo>
                  <a:pt x="9144000" y="0"/>
                </a:lnTo>
                <a:lnTo>
                  <a:pt x="7431035" y="6514355"/>
                </a:lnTo>
                <a:lnTo>
                  <a:pt x="0" y="6513234"/>
                </a:lnTo>
                <a:lnTo>
                  <a:pt x="0" y="0"/>
                </a:lnTo>
                <a:close/>
              </a:path>
            </a:pathLst>
          </a:custGeom>
          <a:solidFill>
            <a:srgbClr val="5A81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2451851"/>
            <a:ext cx="6450106" cy="1980640"/>
          </a:xfrm>
        </p:spPr>
        <p:txBody>
          <a:bodyPr anchor="ctr" anchorCtr="0"/>
          <a:lstStyle>
            <a:lvl1pPr>
              <a:lnSpc>
                <a:spcPct val="95000"/>
              </a:lnSpc>
              <a:defRPr sz="4000">
                <a:solidFill>
                  <a:schemeClr val="bg1"/>
                </a:solidFill>
              </a:defRPr>
            </a:lvl1pPr>
          </a:lstStyle>
          <a:p>
            <a:r>
              <a:rPr lang="en-GB" err="1"/>
              <a:t>Kuvallinen</a:t>
            </a:r>
            <a:r>
              <a:rPr lang="en-GB"/>
              <a:t> </a:t>
            </a:r>
            <a:br>
              <a:rPr lang="en-GB"/>
            </a:br>
            <a:r>
              <a:rPr lang="en-GB" err="1"/>
              <a:t>väliotsikkosivu</a:t>
            </a:r>
            <a:r>
              <a:rPr lang="en-GB"/>
              <a:t> </a:t>
            </a:r>
            <a:r>
              <a:rPr lang="en-GB" err="1"/>
              <a:t>esityksen</a:t>
            </a:r>
            <a:r>
              <a:rPr lang="en-GB"/>
              <a:t> </a:t>
            </a:r>
            <a:r>
              <a:rPr lang="en-GB" err="1"/>
              <a:t>jäsentämiseen</a:t>
            </a:r>
            <a:endParaRPr lang="fi-FI"/>
          </a:p>
        </p:txBody>
      </p:sp>
      <p:sp>
        <p:nvSpPr>
          <p:cNvPr id="9" name="Kuvan paikkamerkki 2">
            <a:extLst>
              <a:ext uri="{FF2B5EF4-FFF2-40B4-BE49-F238E27FC236}">
                <a16:creationId xmlns:a16="http://schemas.microsoft.com/office/drawing/2014/main" id="{A1F3F41D-5BA7-4AD3-81B0-B935DD9EF47D}"/>
              </a:ext>
              <a:ext uri="{C183D7F6-B498-43B3-948B-1728B52AA6E4}">
                <adec:decorative xmlns:adec="http://schemas.microsoft.com/office/drawing/2017/decorative" val="1"/>
              </a:ext>
            </a:extLst>
          </p:cNvPr>
          <p:cNvSpPr>
            <a:spLocks noGrp="1"/>
          </p:cNvSpPr>
          <p:nvPr>
            <p:ph type="pic" idx="13" hasCustomPrompt="1"/>
          </p:nvPr>
        </p:nvSpPr>
        <p:spPr>
          <a:xfrm>
            <a:off x="7603200" y="180000"/>
            <a:ext cx="4410734" cy="6498000"/>
          </a:xfrm>
          <a:custGeom>
            <a:avLst/>
            <a:gdLst>
              <a:gd name="connsiteX0" fmla="*/ 0 w 4408944"/>
              <a:gd name="connsiteY0" fmla="*/ 0 h 6488358"/>
              <a:gd name="connsiteX1" fmla="*/ 4408944 w 4408944"/>
              <a:gd name="connsiteY1" fmla="*/ 0 h 6488358"/>
              <a:gd name="connsiteX2" fmla="*/ 4408944 w 4408944"/>
              <a:gd name="connsiteY2" fmla="*/ 6488358 h 6488358"/>
              <a:gd name="connsiteX3" fmla="*/ 0 w 4408944"/>
              <a:gd name="connsiteY3" fmla="*/ 6488358 h 6488358"/>
              <a:gd name="connsiteX4" fmla="*/ 0 w 4408944"/>
              <a:gd name="connsiteY4" fmla="*/ 0 h 6488358"/>
              <a:gd name="connsiteX0" fmla="*/ 0 w 4408944"/>
              <a:gd name="connsiteY0" fmla="*/ 2612 h 6490970"/>
              <a:gd name="connsiteX1" fmla="*/ 1703017 w 4408944"/>
              <a:gd name="connsiteY1" fmla="*/ 0 h 6490970"/>
              <a:gd name="connsiteX2" fmla="*/ 4408944 w 4408944"/>
              <a:gd name="connsiteY2" fmla="*/ 2612 h 6490970"/>
              <a:gd name="connsiteX3" fmla="*/ 4408944 w 4408944"/>
              <a:gd name="connsiteY3" fmla="*/ 6490970 h 6490970"/>
              <a:gd name="connsiteX4" fmla="*/ 0 w 4408944"/>
              <a:gd name="connsiteY4" fmla="*/ 6490970 h 6490970"/>
              <a:gd name="connsiteX5" fmla="*/ 0 w 4408944"/>
              <a:gd name="connsiteY5" fmla="*/ 2612 h 6490970"/>
              <a:gd name="connsiteX0" fmla="*/ 399196 w 4808140"/>
              <a:gd name="connsiteY0" fmla="*/ 481490 h 6969848"/>
              <a:gd name="connsiteX1" fmla="*/ 2102213 w 4808140"/>
              <a:gd name="connsiteY1" fmla="*/ 478878 h 6969848"/>
              <a:gd name="connsiteX2" fmla="*/ 4808140 w 4808140"/>
              <a:gd name="connsiteY2" fmla="*/ 481490 h 6969848"/>
              <a:gd name="connsiteX3" fmla="*/ 4808140 w 4808140"/>
              <a:gd name="connsiteY3" fmla="*/ 6969848 h 6969848"/>
              <a:gd name="connsiteX4" fmla="*/ 399196 w 4808140"/>
              <a:gd name="connsiteY4" fmla="*/ 6969848 h 6969848"/>
              <a:gd name="connsiteX5" fmla="*/ 399196 w 4808140"/>
              <a:gd name="connsiteY5" fmla="*/ 481490 h 6969848"/>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420890 w 4410734"/>
              <a:gd name="connsiteY0" fmla="*/ 2450537 h 6490970"/>
              <a:gd name="connsiteX1" fmla="*/ 1704807 w 4410734"/>
              <a:gd name="connsiteY1" fmla="*/ 0 h 6490970"/>
              <a:gd name="connsiteX2" fmla="*/ 4410734 w 4410734"/>
              <a:gd name="connsiteY2" fmla="*/ 2612 h 6490970"/>
              <a:gd name="connsiteX3" fmla="*/ 4410734 w 4410734"/>
              <a:gd name="connsiteY3" fmla="*/ 6490970 h 6490970"/>
              <a:gd name="connsiteX4" fmla="*/ 1790 w 4410734"/>
              <a:gd name="connsiteY4" fmla="*/ 6490970 h 6490970"/>
              <a:gd name="connsiteX5" fmla="*/ 420890 w 4410734"/>
              <a:gd name="connsiteY5" fmla="*/ 2450537 h 649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0734" h="6490970">
                <a:moveTo>
                  <a:pt x="420890" y="2450537"/>
                </a:moveTo>
                <a:cubicBezTo>
                  <a:pt x="704726" y="1368709"/>
                  <a:pt x="1192233" y="476250"/>
                  <a:pt x="1704807" y="0"/>
                </a:cubicBezTo>
                <a:lnTo>
                  <a:pt x="4410734" y="2612"/>
                </a:lnTo>
                <a:lnTo>
                  <a:pt x="4410734" y="6490970"/>
                </a:lnTo>
                <a:lnTo>
                  <a:pt x="1790" y="6490970"/>
                </a:lnTo>
                <a:cubicBezTo>
                  <a:pt x="-18659" y="5206377"/>
                  <a:pt x="137054" y="3532365"/>
                  <a:pt x="420890" y="2450537"/>
                </a:cubicBezTo>
                <a:close/>
              </a:path>
            </a:pathLst>
          </a:custGeo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a:t>
            </a:r>
            <a:br>
              <a:rPr lang="fi-FI"/>
            </a:br>
            <a:r>
              <a:rPr lang="fi-FI"/>
              <a:t>tai valitsemalla </a:t>
            </a:r>
            <a:r>
              <a:rPr lang="fi-FI" err="1"/>
              <a:t>Kameleonin</a:t>
            </a:r>
            <a:r>
              <a:rPr lang="fi-FI"/>
              <a:t> Kuvagalleriasta</a:t>
            </a:r>
            <a:br>
              <a:rPr lang="fi-FI"/>
            </a:br>
            <a:br>
              <a:rPr lang="fi-FI"/>
            </a:br>
            <a:r>
              <a:rPr lang="fi-FI"/>
              <a:t>Voit vaihtaa kuvan Kuvagalleriasta</a:t>
            </a:r>
            <a:br>
              <a:rPr lang="fi-FI"/>
            </a:br>
            <a:r>
              <a:rPr lang="fi-FI"/>
              <a:t>tai poistamalla kuvan ja lisäämällä uuden kuvan napsauttamalla kuvaketta</a:t>
            </a:r>
          </a:p>
        </p:txBody>
      </p:sp>
    </p:spTree>
    <p:extLst>
      <p:ext uri="{BB962C8B-B14F-4D97-AF65-F5344CB8AC3E}">
        <p14:creationId xmlns:p14="http://schemas.microsoft.com/office/powerpoint/2010/main" val="1697938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Osan ylätunniste kuva 3" preserve="1" userDrawn="1">
  <p:cSld name="Osan ylätunniste kuva 3">
    <p:spTree>
      <p:nvGrpSpPr>
        <p:cNvPr id="1" name=""/>
        <p:cNvGrpSpPr/>
        <p:nvPr/>
      </p:nvGrpSpPr>
      <p:grpSpPr>
        <a:xfrm>
          <a:off x="0" y="0"/>
          <a:ext cx="0" cy="0"/>
          <a:chOff x="0" y="0"/>
          <a:chExt cx="0" cy="0"/>
        </a:xfrm>
      </p:grpSpPr>
      <p:sp>
        <p:nvSpPr>
          <p:cNvPr id="6" name="Suorakulmio 9">
            <a:extLst>
              <a:ext uri="{FF2B5EF4-FFF2-40B4-BE49-F238E27FC236}">
                <a16:creationId xmlns:a16="http://schemas.microsoft.com/office/drawing/2014/main" id="{F4B276F3-D064-4656-A9E4-A4F6D1ABBFC8}"/>
              </a:ext>
              <a:ext uri="{C183D7F6-B498-43B3-948B-1728B52AA6E4}">
                <adec:decorative xmlns:adec="http://schemas.microsoft.com/office/drawing/2017/decorative" val="1"/>
              </a:ext>
            </a:extLst>
          </p:cNvPr>
          <p:cNvSpPr/>
          <p:nvPr userDrawn="1"/>
        </p:nvSpPr>
        <p:spPr>
          <a:xfrm>
            <a:off x="180000" y="180000"/>
            <a:ext cx="9144000" cy="6498000"/>
          </a:xfrm>
          <a:custGeom>
            <a:avLst/>
            <a:gdLst>
              <a:gd name="connsiteX0" fmla="*/ 0 w 9144000"/>
              <a:gd name="connsiteY0" fmla="*/ 0 h 6513234"/>
              <a:gd name="connsiteX1" fmla="*/ 9144000 w 9144000"/>
              <a:gd name="connsiteY1" fmla="*/ 0 h 6513234"/>
              <a:gd name="connsiteX2" fmla="*/ 9144000 w 9144000"/>
              <a:gd name="connsiteY2" fmla="*/ 6513234 h 6513234"/>
              <a:gd name="connsiteX3" fmla="*/ 0 w 9144000"/>
              <a:gd name="connsiteY3" fmla="*/ 6513234 h 6513234"/>
              <a:gd name="connsiteX4" fmla="*/ 0 w 9144000"/>
              <a:gd name="connsiteY4" fmla="*/ 0 h 6513234"/>
              <a:gd name="connsiteX0" fmla="*/ 0 w 9144000"/>
              <a:gd name="connsiteY0" fmla="*/ 0 h 6514355"/>
              <a:gd name="connsiteX1" fmla="*/ 9144000 w 9144000"/>
              <a:gd name="connsiteY1" fmla="*/ 0 h 6514355"/>
              <a:gd name="connsiteX2" fmla="*/ 9144000 w 9144000"/>
              <a:gd name="connsiteY2" fmla="*/ 6513234 h 6514355"/>
              <a:gd name="connsiteX3" fmla="*/ 7431035 w 9144000"/>
              <a:gd name="connsiteY3" fmla="*/ 6514355 h 6514355"/>
              <a:gd name="connsiteX4" fmla="*/ 0 w 9144000"/>
              <a:gd name="connsiteY4" fmla="*/ 6513234 h 6514355"/>
              <a:gd name="connsiteX5" fmla="*/ 0 w 9144000"/>
              <a:gd name="connsiteY5" fmla="*/ 0 h 6514355"/>
              <a:gd name="connsiteX0" fmla="*/ 0 w 9144000"/>
              <a:gd name="connsiteY0" fmla="*/ 0 h 6514355"/>
              <a:gd name="connsiteX1" fmla="*/ 9144000 w 9144000"/>
              <a:gd name="connsiteY1" fmla="*/ 0 h 6514355"/>
              <a:gd name="connsiteX2" fmla="*/ 7431035 w 9144000"/>
              <a:gd name="connsiteY2" fmla="*/ 6514355 h 6514355"/>
              <a:gd name="connsiteX3" fmla="*/ 0 w 9144000"/>
              <a:gd name="connsiteY3" fmla="*/ 6513234 h 6514355"/>
              <a:gd name="connsiteX4" fmla="*/ 0 w 9144000"/>
              <a:gd name="connsiteY4" fmla="*/ 0 h 6514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514355">
                <a:moveTo>
                  <a:pt x="0" y="0"/>
                </a:moveTo>
                <a:lnTo>
                  <a:pt x="9144000" y="0"/>
                </a:lnTo>
                <a:lnTo>
                  <a:pt x="7431035" y="6514355"/>
                </a:lnTo>
                <a:lnTo>
                  <a:pt x="0" y="6513234"/>
                </a:lnTo>
                <a:lnTo>
                  <a:pt x="0" y="0"/>
                </a:lnTo>
                <a:close/>
              </a:path>
            </a:pathLst>
          </a:custGeom>
          <a:solidFill>
            <a:srgbClr val="D964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Otsikko 1">
            <a:extLst>
              <a:ext uri="{FF2B5EF4-FFF2-40B4-BE49-F238E27FC236}">
                <a16:creationId xmlns:a16="http://schemas.microsoft.com/office/drawing/2014/main" id="{47F72F94-0DE4-46B2-BC4B-03DD33656CF4}"/>
              </a:ext>
            </a:extLst>
          </p:cNvPr>
          <p:cNvSpPr>
            <a:spLocks noGrp="1"/>
          </p:cNvSpPr>
          <p:nvPr>
            <p:ph type="title" hasCustomPrompt="1"/>
          </p:nvPr>
        </p:nvSpPr>
        <p:spPr>
          <a:xfrm>
            <a:off x="1062318" y="2451851"/>
            <a:ext cx="6450106" cy="1980640"/>
          </a:xfrm>
        </p:spPr>
        <p:txBody>
          <a:bodyPr anchor="ctr" anchorCtr="0"/>
          <a:lstStyle>
            <a:lvl1pPr>
              <a:lnSpc>
                <a:spcPct val="95000"/>
              </a:lnSpc>
              <a:defRPr sz="4000">
                <a:solidFill>
                  <a:schemeClr val="bg1"/>
                </a:solidFill>
              </a:defRPr>
            </a:lvl1pPr>
          </a:lstStyle>
          <a:p>
            <a:r>
              <a:rPr lang="en-GB" err="1"/>
              <a:t>Kuvallinen</a:t>
            </a:r>
            <a:r>
              <a:rPr lang="en-GB"/>
              <a:t> </a:t>
            </a:r>
            <a:br>
              <a:rPr lang="en-GB"/>
            </a:br>
            <a:r>
              <a:rPr lang="en-GB" err="1"/>
              <a:t>väliotsikkosivu</a:t>
            </a:r>
            <a:r>
              <a:rPr lang="en-GB"/>
              <a:t> </a:t>
            </a:r>
            <a:r>
              <a:rPr lang="en-GB" err="1"/>
              <a:t>esityksen</a:t>
            </a:r>
            <a:r>
              <a:rPr lang="en-GB"/>
              <a:t> </a:t>
            </a:r>
            <a:r>
              <a:rPr lang="en-GB" err="1"/>
              <a:t>jäsentämiseen</a:t>
            </a:r>
            <a:endParaRPr lang="fi-FI"/>
          </a:p>
        </p:txBody>
      </p:sp>
      <p:sp>
        <p:nvSpPr>
          <p:cNvPr id="9" name="Kuvan paikkamerkki 2">
            <a:extLst>
              <a:ext uri="{FF2B5EF4-FFF2-40B4-BE49-F238E27FC236}">
                <a16:creationId xmlns:a16="http://schemas.microsoft.com/office/drawing/2014/main" id="{A1F3F41D-5BA7-4AD3-81B0-B935DD9EF47D}"/>
              </a:ext>
              <a:ext uri="{C183D7F6-B498-43B3-948B-1728B52AA6E4}">
                <adec:decorative xmlns:adec="http://schemas.microsoft.com/office/drawing/2017/decorative" val="1"/>
              </a:ext>
            </a:extLst>
          </p:cNvPr>
          <p:cNvSpPr>
            <a:spLocks noGrp="1"/>
          </p:cNvSpPr>
          <p:nvPr>
            <p:ph type="pic" idx="13" hasCustomPrompt="1"/>
          </p:nvPr>
        </p:nvSpPr>
        <p:spPr>
          <a:xfrm>
            <a:off x="7603200" y="180000"/>
            <a:ext cx="4410734" cy="6498000"/>
          </a:xfrm>
          <a:custGeom>
            <a:avLst/>
            <a:gdLst>
              <a:gd name="connsiteX0" fmla="*/ 0 w 4408944"/>
              <a:gd name="connsiteY0" fmla="*/ 0 h 6488358"/>
              <a:gd name="connsiteX1" fmla="*/ 4408944 w 4408944"/>
              <a:gd name="connsiteY1" fmla="*/ 0 h 6488358"/>
              <a:gd name="connsiteX2" fmla="*/ 4408944 w 4408944"/>
              <a:gd name="connsiteY2" fmla="*/ 6488358 h 6488358"/>
              <a:gd name="connsiteX3" fmla="*/ 0 w 4408944"/>
              <a:gd name="connsiteY3" fmla="*/ 6488358 h 6488358"/>
              <a:gd name="connsiteX4" fmla="*/ 0 w 4408944"/>
              <a:gd name="connsiteY4" fmla="*/ 0 h 6488358"/>
              <a:gd name="connsiteX0" fmla="*/ 0 w 4408944"/>
              <a:gd name="connsiteY0" fmla="*/ 2612 h 6490970"/>
              <a:gd name="connsiteX1" fmla="*/ 1703017 w 4408944"/>
              <a:gd name="connsiteY1" fmla="*/ 0 h 6490970"/>
              <a:gd name="connsiteX2" fmla="*/ 4408944 w 4408944"/>
              <a:gd name="connsiteY2" fmla="*/ 2612 h 6490970"/>
              <a:gd name="connsiteX3" fmla="*/ 4408944 w 4408944"/>
              <a:gd name="connsiteY3" fmla="*/ 6490970 h 6490970"/>
              <a:gd name="connsiteX4" fmla="*/ 0 w 4408944"/>
              <a:gd name="connsiteY4" fmla="*/ 6490970 h 6490970"/>
              <a:gd name="connsiteX5" fmla="*/ 0 w 4408944"/>
              <a:gd name="connsiteY5" fmla="*/ 2612 h 6490970"/>
              <a:gd name="connsiteX0" fmla="*/ 399196 w 4808140"/>
              <a:gd name="connsiteY0" fmla="*/ 481490 h 6969848"/>
              <a:gd name="connsiteX1" fmla="*/ 2102213 w 4808140"/>
              <a:gd name="connsiteY1" fmla="*/ 478878 h 6969848"/>
              <a:gd name="connsiteX2" fmla="*/ 4808140 w 4808140"/>
              <a:gd name="connsiteY2" fmla="*/ 481490 h 6969848"/>
              <a:gd name="connsiteX3" fmla="*/ 4808140 w 4808140"/>
              <a:gd name="connsiteY3" fmla="*/ 6969848 h 6969848"/>
              <a:gd name="connsiteX4" fmla="*/ 399196 w 4808140"/>
              <a:gd name="connsiteY4" fmla="*/ 6969848 h 6969848"/>
              <a:gd name="connsiteX5" fmla="*/ 399196 w 4808140"/>
              <a:gd name="connsiteY5" fmla="*/ 481490 h 6969848"/>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707025 w 4696869"/>
              <a:gd name="connsiteY0" fmla="*/ 2450537 h 6490970"/>
              <a:gd name="connsiteX1" fmla="*/ 1990942 w 4696869"/>
              <a:gd name="connsiteY1" fmla="*/ 0 h 6490970"/>
              <a:gd name="connsiteX2" fmla="*/ 4696869 w 4696869"/>
              <a:gd name="connsiteY2" fmla="*/ 2612 h 6490970"/>
              <a:gd name="connsiteX3" fmla="*/ 4696869 w 4696869"/>
              <a:gd name="connsiteY3" fmla="*/ 6490970 h 6490970"/>
              <a:gd name="connsiteX4" fmla="*/ 287925 w 4696869"/>
              <a:gd name="connsiteY4" fmla="*/ 6490970 h 6490970"/>
              <a:gd name="connsiteX5" fmla="*/ 707025 w 4696869"/>
              <a:gd name="connsiteY5" fmla="*/ 2450537 h 6490970"/>
              <a:gd name="connsiteX0" fmla="*/ 420890 w 4410734"/>
              <a:gd name="connsiteY0" fmla="*/ 2450537 h 6490970"/>
              <a:gd name="connsiteX1" fmla="*/ 1704807 w 4410734"/>
              <a:gd name="connsiteY1" fmla="*/ 0 h 6490970"/>
              <a:gd name="connsiteX2" fmla="*/ 4410734 w 4410734"/>
              <a:gd name="connsiteY2" fmla="*/ 2612 h 6490970"/>
              <a:gd name="connsiteX3" fmla="*/ 4410734 w 4410734"/>
              <a:gd name="connsiteY3" fmla="*/ 6490970 h 6490970"/>
              <a:gd name="connsiteX4" fmla="*/ 1790 w 4410734"/>
              <a:gd name="connsiteY4" fmla="*/ 6490970 h 6490970"/>
              <a:gd name="connsiteX5" fmla="*/ 420890 w 4410734"/>
              <a:gd name="connsiteY5" fmla="*/ 2450537 h 649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0734" h="6490970">
                <a:moveTo>
                  <a:pt x="420890" y="2450537"/>
                </a:moveTo>
                <a:cubicBezTo>
                  <a:pt x="704726" y="1368709"/>
                  <a:pt x="1192233" y="476250"/>
                  <a:pt x="1704807" y="0"/>
                </a:cubicBezTo>
                <a:lnTo>
                  <a:pt x="4410734" y="2612"/>
                </a:lnTo>
                <a:lnTo>
                  <a:pt x="4410734" y="6490970"/>
                </a:lnTo>
                <a:lnTo>
                  <a:pt x="1790" y="6490970"/>
                </a:lnTo>
                <a:cubicBezTo>
                  <a:pt x="-18659" y="5206377"/>
                  <a:pt x="137054" y="3532365"/>
                  <a:pt x="420890" y="2450537"/>
                </a:cubicBezTo>
                <a:close/>
              </a:path>
            </a:pathLst>
          </a:custGeom>
          <a:solidFill>
            <a:schemeClr val="bg1">
              <a:lumMod val="95000"/>
            </a:schemeClr>
          </a:solidFill>
        </p:spPr>
        <p:txBody>
          <a:bodyPr anchor="ctr" anchorCtr="0"/>
          <a:lstStyle>
            <a:lvl1pPr marL="0" indent="0" algn="ctr">
              <a:spcBef>
                <a:spcPts val="0"/>
              </a:spcBef>
              <a:buNone/>
              <a:defRPr sz="1600" b="0" i="1"/>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0000"/>
              </a:lnSpc>
              <a:spcBef>
                <a:spcPts val="1000"/>
              </a:spcBef>
              <a:spcAft>
                <a:spcPts val="0"/>
              </a:spcAft>
              <a:buClr>
                <a:schemeClr val="tx2"/>
              </a:buClr>
              <a:buSzTx/>
              <a:buFont typeface="Arial" panose="020B0604020202020204" pitchFamily="34" charset="0"/>
              <a:buNone/>
              <a:tabLst/>
              <a:defRPr/>
            </a:pPr>
            <a:r>
              <a:rPr lang="fi-FI"/>
              <a:t>Lisää kuva napsauttamalla kuvaketta</a:t>
            </a:r>
            <a:br>
              <a:rPr lang="fi-FI"/>
            </a:br>
            <a:r>
              <a:rPr lang="fi-FI"/>
              <a:t>tai valitsemalla </a:t>
            </a:r>
            <a:r>
              <a:rPr lang="fi-FI" err="1"/>
              <a:t>Kameleonin</a:t>
            </a:r>
            <a:r>
              <a:rPr lang="fi-FI"/>
              <a:t> Kuvagalleriasta</a:t>
            </a:r>
            <a:br>
              <a:rPr lang="fi-FI"/>
            </a:br>
            <a:br>
              <a:rPr lang="fi-FI"/>
            </a:br>
            <a:r>
              <a:rPr lang="fi-FI"/>
              <a:t>Voit vaihtaa kuvan Kuvagalleriasta</a:t>
            </a:r>
            <a:br>
              <a:rPr lang="fi-FI"/>
            </a:br>
            <a:r>
              <a:rPr lang="fi-FI"/>
              <a:t>tai poistamalla kuvan ja lisäämällä uuden kuvan napsauttamalla kuvaketta</a:t>
            </a:r>
          </a:p>
        </p:txBody>
      </p:sp>
    </p:spTree>
    <p:extLst>
      <p:ext uri="{BB962C8B-B14F-4D97-AF65-F5344CB8AC3E}">
        <p14:creationId xmlns:p14="http://schemas.microsoft.com/office/powerpoint/2010/main" val="9493604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Vain otsikko" preserve="1" userDrawn="1">
  <p:cSld name="Vain otsikko">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34B3679A-A389-400D-A744-C43C22701232}"/>
              </a:ext>
            </a:extLst>
          </p:cNvPr>
          <p:cNvSpPr>
            <a:spLocks noGrp="1"/>
          </p:cNvSpPr>
          <p:nvPr>
            <p:ph type="title"/>
          </p:nvPr>
        </p:nvSpPr>
        <p:spPr/>
        <p:txBody>
          <a:bodyPr/>
          <a:lstStyle/>
          <a:p>
            <a:r>
              <a:rPr lang="fi-FI"/>
              <a:t>Muokkaa ots. perustyyl. napsautt.</a:t>
            </a:r>
          </a:p>
        </p:txBody>
      </p:sp>
      <p:sp>
        <p:nvSpPr>
          <p:cNvPr id="10" name="Dian numeron paikkamerkki 5">
            <a:extLst>
              <a:ext uri="{FF2B5EF4-FFF2-40B4-BE49-F238E27FC236}">
                <a16:creationId xmlns:a16="http://schemas.microsoft.com/office/drawing/2014/main" id="{EF9C706D-5C6A-42FA-B522-02CB8028F453}"/>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11" name="Päivämäärän paikkamerkki 3">
            <a:extLst>
              <a:ext uri="{FF2B5EF4-FFF2-40B4-BE49-F238E27FC236}">
                <a16:creationId xmlns:a16="http://schemas.microsoft.com/office/drawing/2014/main" id="{A08CEC9F-7456-473A-8F4A-6918F37BC32E}"/>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26.4.2022   |   </a:t>
            </a:r>
          </a:p>
        </p:txBody>
      </p:sp>
      <p:sp>
        <p:nvSpPr>
          <p:cNvPr id="12" name="Alatunnisteen paikkamerkki 4">
            <a:extLst>
              <a:ext uri="{FF2B5EF4-FFF2-40B4-BE49-F238E27FC236}">
                <a16:creationId xmlns:a16="http://schemas.microsoft.com/office/drawing/2014/main" id="{9A5411A7-57B3-491D-9820-EBA16DCC412B}"/>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Päivi Hautaniemi</a:t>
            </a:r>
          </a:p>
        </p:txBody>
      </p:sp>
    </p:spTree>
    <p:extLst>
      <p:ext uri="{BB962C8B-B14F-4D97-AF65-F5344CB8AC3E}">
        <p14:creationId xmlns:p14="http://schemas.microsoft.com/office/powerpoint/2010/main" val="1373931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yhjä" type="blank" preserve="1">
  <p:cSld name="Tyhjä">
    <p:spTree>
      <p:nvGrpSpPr>
        <p:cNvPr id="1" name=""/>
        <p:cNvGrpSpPr/>
        <p:nvPr/>
      </p:nvGrpSpPr>
      <p:grpSpPr>
        <a:xfrm>
          <a:off x="0" y="0"/>
          <a:ext cx="0" cy="0"/>
          <a:chOff x="0" y="0"/>
          <a:chExt cx="0" cy="0"/>
        </a:xfrm>
      </p:grpSpPr>
      <p:sp>
        <p:nvSpPr>
          <p:cNvPr id="8" name="Dian numeron paikkamerkki 5">
            <a:extLst>
              <a:ext uri="{FF2B5EF4-FFF2-40B4-BE49-F238E27FC236}">
                <a16:creationId xmlns:a16="http://schemas.microsoft.com/office/drawing/2014/main" id="{CB941E6F-111D-4022-8CFD-1CC1B2ADB7ED}"/>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9" name="Päivämäärän paikkamerkki 3">
            <a:extLst>
              <a:ext uri="{FF2B5EF4-FFF2-40B4-BE49-F238E27FC236}">
                <a16:creationId xmlns:a16="http://schemas.microsoft.com/office/drawing/2014/main" id="{3A4A4694-9735-4EF6-8D9E-9C60AE285363}"/>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26.4.2022   |   </a:t>
            </a:r>
          </a:p>
        </p:txBody>
      </p:sp>
      <p:sp>
        <p:nvSpPr>
          <p:cNvPr id="10" name="Alatunnisteen paikkamerkki 4">
            <a:extLst>
              <a:ext uri="{FF2B5EF4-FFF2-40B4-BE49-F238E27FC236}">
                <a16:creationId xmlns:a16="http://schemas.microsoft.com/office/drawing/2014/main" id="{78F21DE0-9EC0-4B8E-AE3C-CC8F7C9E3838}"/>
              </a:ext>
            </a:extLst>
          </p:cNvPr>
          <p:cNvSpPr>
            <a:spLocks noGrp="1"/>
          </p:cNvSpPr>
          <p:nvPr>
            <p:ph type="ftr" sz="quarter" idx="3"/>
          </p:nvPr>
        </p:nvSpPr>
        <p:spPr>
          <a:xfrm>
            <a:off x="2495271" y="6374625"/>
            <a:ext cx="4114800"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Päivi Hautaniemi</a:t>
            </a:r>
          </a:p>
        </p:txBody>
      </p:sp>
    </p:spTree>
    <p:extLst>
      <p:ext uri="{BB962C8B-B14F-4D97-AF65-F5344CB8AC3E}">
        <p14:creationId xmlns:p14="http://schemas.microsoft.com/office/powerpoint/2010/main" val="1004359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ubrik, text och bi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en-GB"/>
          </a:p>
        </p:txBody>
      </p:sp>
      <p:sp>
        <p:nvSpPr>
          <p:cNvPr id="3" name="Platshållare för innehåll 2"/>
          <p:cNvSpPr>
            <a:spLocks noGrp="1"/>
          </p:cNvSpPr>
          <p:nvPr>
            <p:ph idx="1"/>
          </p:nvPr>
        </p:nvSpPr>
        <p:spPr>
          <a:xfrm>
            <a:off x="803275" y="2059818"/>
            <a:ext cx="4664075" cy="4321932"/>
          </a:xfrm>
        </p:spPr>
        <p:txBody>
          <a:bodyPr/>
          <a:lstStyle>
            <a:lvl1pPr marL="12600" indent="0">
              <a:buNone/>
              <a:defRPr/>
            </a:lvl1pPr>
            <a:lvl2pPr marL="469800" indent="0">
              <a:buNone/>
              <a:defRPr/>
            </a:lvl2pPr>
            <a:lvl3pPr marL="927000" indent="0">
              <a:buNone/>
              <a:defRPr/>
            </a:lvl3pPr>
            <a:lvl4pPr marL="1384200" indent="0">
              <a:buNone/>
              <a:defRPr/>
            </a:lvl4pPr>
            <a:lvl5pPr marL="1841400" indent="0">
              <a:buNone/>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p:cNvSpPr>
            <a:spLocks noGrp="1"/>
          </p:cNvSpPr>
          <p:nvPr>
            <p:ph type="dt" sz="half" idx="10"/>
          </p:nvPr>
        </p:nvSpPr>
        <p:spPr/>
        <p:txBody>
          <a:bodyPr/>
          <a:lstStyle/>
          <a:p>
            <a:fld id="{EBC867A8-1256-4B3D-985C-65275CEB08F4}" type="datetime1">
              <a:rPr lang="sv-SE" smtClean="0"/>
              <a:t>2022-04-29</a:t>
            </a:fld>
            <a:endParaRPr lang="en-GB"/>
          </a:p>
        </p:txBody>
      </p:sp>
      <p:sp>
        <p:nvSpPr>
          <p:cNvPr id="5" name="Platshållare för sidfot 4"/>
          <p:cNvSpPr>
            <a:spLocks noGrp="1"/>
          </p:cNvSpPr>
          <p:nvPr>
            <p:ph type="ftr" sz="quarter" idx="11"/>
          </p:nvPr>
        </p:nvSpPr>
        <p:spPr/>
        <p:txBody>
          <a:body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12"/>
          </p:nvPr>
        </p:nvSpPr>
        <p:spPr/>
        <p:txBody>
          <a:bodyPr/>
          <a:lstStyle/>
          <a:p>
            <a:fld id="{A3EAEDCA-98D4-4724-9772-C653855CA076}" type="slidenum">
              <a:rPr lang="en-GB" smtClean="0"/>
              <a:t>‹#›</a:t>
            </a:fld>
            <a:endParaRPr lang="en-GB"/>
          </a:p>
        </p:txBody>
      </p:sp>
      <p:sp>
        <p:nvSpPr>
          <p:cNvPr id="8" name="Platshållare för bild 7"/>
          <p:cNvSpPr>
            <a:spLocks noGrp="1"/>
          </p:cNvSpPr>
          <p:nvPr>
            <p:ph type="pic" sz="quarter" idx="13"/>
          </p:nvPr>
        </p:nvSpPr>
        <p:spPr>
          <a:xfrm>
            <a:off x="6144684" y="2097088"/>
            <a:ext cx="5783292" cy="4284662"/>
          </a:xfrm>
        </p:spPr>
        <p:txBody>
          <a:bodyPr/>
          <a:lstStyle/>
          <a:p>
            <a:r>
              <a:rPr lang="sv-SE"/>
              <a:t>Klicka på ikonen för att lägga till en bild</a:t>
            </a:r>
          </a:p>
        </p:txBody>
      </p:sp>
    </p:spTree>
    <p:extLst>
      <p:ext uri="{BB962C8B-B14F-4D97-AF65-F5344CB8AC3E}">
        <p14:creationId xmlns:p14="http://schemas.microsoft.com/office/powerpoint/2010/main" val="35035612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matchingName="Lopetus" type="title" preserve="1">
  <p:cSld name="Lopetus">
    <p:spTree>
      <p:nvGrpSpPr>
        <p:cNvPr id="1" name=""/>
        <p:cNvGrpSpPr/>
        <p:nvPr/>
      </p:nvGrpSpPr>
      <p:grpSpPr>
        <a:xfrm>
          <a:off x="0" y="0"/>
          <a:ext cx="0" cy="0"/>
          <a:chOff x="0" y="0"/>
          <a:chExt cx="0" cy="0"/>
        </a:xfrm>
      </p:grpSpPr>
      <p:sp>
        <p:nvSpPr>
          <p:cNvPr id="11" name="Freeform 13">
            <a:extLst>
              <a:ext uri="{FF2B5EF4-FFF2-40B4-BE49-F238E27FC236}">
                <a16:creationId xmlns:a16="http://schemas.microsoft.com/office/drawing/2014/main" id="{E1153FAC-44DF-431E-A26D-60482F426736}"/>
              </a:ext>
              <a:ext uri="{C183D7F6-B498-43B3-948B-1728B52AA6E4}">
                <adec:decorative xmlns:adec="http://schemas.microsoft.com/office/drawing/2017/decorative" val="1"/>
              </a:ext>
            </a:extLst>
          </p:cNvPr>
          <p:cNvSpPr>
            <a:spLocks/>
          </p:cNvSpPr>
          <p:nvPr userDrawn="1"/>
        </p:nvSpPr>
        <p:spPr bwMode="auto">
          <a:xfrm>
            <a:off x="178632" y="180000"/>
            <a:ext cx="11834341" cy="4639603"/>
          </a:xfrm>
          <a:custGeom>
            <a:avLst/>
            <a:gdLst>
              <a:gd name="T0" fmla="*/ 32870 w 32870"/>
              <a:gd name="T1" fmla="*/ 11160 h 12864"/>
              <a:gd name="T2" fmla="*/ 32870 w 32870"/>
              <a:gd name="T3" fmla="*/ 0 h 12864"/>
              <a:gd name="T4" fmla="*/ 11591 w 32870"/>
              <a:gd name="T5" fmla="*/ 0 h 12864"/>
              <a:gd name="T6" fmla="*/ 0 w 32870"/>
              <a:gd name="T7" fmla="*/ 4209 h 12864"/>
              <a:gd name="T8" fmla="*/ 0 w 32870"/>
              <a:gd name="T9" fmla="*/ 12864 h 12864"/>
              <a:gd name="T10" fmla="*/ 13779 w 32870"/>
              <a:gd name="T11" fmla="*/ 10654 h 12864"/>
              <a:gd name="T12" fmla="*/ 32870 w 32870"/>
              <a:gd name="T13" fmla="*/ 10638 h 12864"/>
              <a:gd name="T14" fmla="*/ 32870 w 32870"/>
              <a:gd name="T15" fmla="*/ 11160 h 12864"/>
              <a:gd name="connsiteX0" fmla="*/ 32870 w 32870"/>
              <a:gd name="connsiteY0" fmla="*/ 11160 h 13093"/>
              <a:gd name="connsiteX1" fmla="*/ 32870 w 32870"/>
              <a:gd name="connsiteY1" fmla="*/ 0 h 13093"/>
              <a:gd name="connsiteX2" fmla="*/ 11591 w 32870"/>
              <a:gd name="connsiteY2" fmla="*/ 0 h 13093"/>
              <a:gd name="connsiteX3" fmla="*/ 0 w 32870"/>
              <a:gd name="connsiteY3" fmla="*/ 4209 h 13093"/>
              <a:gd name="connsiteX4" fmla="*/ 0 w 32870"/>
              <a:gd name="connsiteY4" fmla="*/ 12864 h 13093"/>
              <a:gd name="connsiteX5" fmla="*/ 32870 w 32870"/>
              <a:gd name="connsiteY5" fmla="*/ 10638 h 13093"/>
              <a:gd name="connsiteX6" fmla="*/ 32870 w 32870"/>
              <a:gd name="connsiteY6" fmla="*/ 11160 h 13093"/>
              <a:gd name="connsiteX0" fmla="*/ 32870 w 32870"/>
              <a:gd name="connsiteY0" fmla="*/ 11160 h 12864"/>
              <a:gd name="connsiteX1" fmla="*/ 32870 w 32870"/>
              <a:gd name="connsiteY1" fmla="*/ 0 h 12864"/>
              <a:gd name="connsiteX2" fmla="*/ 11591 w 32870"/>
              <a:gd name="connsiteY2" fmla="*/ 0 h 12864"/>
              <a:gd name="connsiteX3" fmla="*/ 0 w 32870"/>
              <a:gd name="connsiteY3" fmla="*/ 4209 h 12864"/>
              <a:gd name="connsiteX4" fmla="*/ 0 w 32870"/>
              <a:gd name="connsiteY4" fmla="*/ 12864 h 12864"/>
              <a:gd name="connsiteX5" fmla="*/ 32870 w 32870"/>
              <a:gd name="connsiteY5" fmla="*/ 10638 h 12864"/>
              <a:gd name="connsiteX6" fmla="*/ 32870 w 32870"/>
              <a:gd name="connsiteY6" fmla="*/ 11160 h 12864"/>
              <a:gd name="connsiteX0" fmla="*/ 32870 w 32870"/>
              <a:gd name="connsiteY0" fmla="*/ 10638 h 12864"/>
              <a:gd name="connsiteX1" fmla="*/ 32870 w 32870"/>
              <a:gd name="connsiteY1" fmla="*/ 0 h 12864"/>
              <a:gd name="connsiteX2" fmla="*/ 11591 w 32870"/>
              <a:gd name="connsiteY2" fmla="*/ 0 h 12864"/>
              <a:gd name="connsiteX3" fmla="*/ 0 w 32870"/>
              <a:gd name="connsiteY3" fmla="*/ 4209 h 12864"/>
              <a:gd name="connsiteX4" fmla="*/ 0 w 32870"/>
              <a:gd name="connsiteY4" fmla="*/ 12864 h 12864"/>
              <a:gd name="connsiteX5" fmla="*/ 32870 w 32870"/>
              <a:gd name="connsiteY5" fmla="*/ 10638 h 12864"/>
              <a:gd name="connsiteX0" fmla="*/ 32870 w 32870"/>
              <a:gd name="connsiteY0" fmla="*/ 10638 h 12864"/>
              <a:gd name="connsiteX1" fmla="*/ 32870 w 32870"/>
              <a:gd name="connsiteY1" fmla="*/ 0 h 12864"/>
              <a:gd name="connsiteX2" fmla="*/ 11591 w 32870"/>
              <a:gd name="connsiteY2" fmla="*/ 0 h 12864"/>
              <a:gd name="connsiteX3" fmla="*/ 0 w 32870"/>
              <a:gd name="connsiteY3" fmla="*/ 4209 h 12864"/>
              <a:gd name="connsiteX4" fmla="*/ 0 w 32870"/>
              <a:gd name="connsiteY4" fmla="*/ 12864 h 12864"/>
              <a:gd name="connsiteX5" fmla="*/ 32870 w 32870"/>
              <a:gd name="connsiteY5" fmla="*/ 10638 h 12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70" h="12864">
                <a:moveTo>
                  <a:pt x="32870" y="10638"/>
                </a:moveTo>
                <a:lnTo>
                  <a:pt x="32870" y="0"/>
                </a:lnTo>
                <a:lnTo>
                  <a:pt x="11591" y="0"/>
                </a:lnTo>
                <a:cubicBezTo>
                  <a:pt x="10879" y="2578"/>
                  <a:pt x="7831" y="4511"/>
                  <a:pt x="0" y="4209"/>
                </a:cubicBezTo>
                <a:lnTo>
                  <a:pt x="0" y="12864"/>
                </a:lnTo>
                <a:cubicBezTo>
                  <a:pt x="65" y="12881"/>
                  <a:pt x="32861" y="10626"/>
                  <a:pt x="32870" y="10638"/>
                </a:cubicBez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9" name="Freeform 12">
            <a:extLst>
              <a:ext uri="{FF2B5EF4-FFF2-40B4-BE49-F238E27FC236}">
                <a16:creationId xmlns:a16="http://schemas.microsoft.com/office/drawing/2014/main" id="{05F8CEAE-2B96-485D-B411-8B7C510B05C6}"/>
              </a:ext>
              <a:ext uri="{C183D7F6-B498-43B3-948B-1728B52AA6E4}">
                <adec:decorative xmlns:adec="http://schemas.microsoft.com/office/drawing/2017/decorative" val="1"/>
              </a:ext>
            </a:extLst>
          </p:cNvPr>
          <p:cNvSpPr>
            <a:spLocks/>
          </p:cNvSpPr>
          <p:nvPr userDrawn="1"/>
        </p:nvSpPr>
        <p:spPr bwMode="auto">
          <a:xfrm>
            <a:off x="178632" y="4016534"/>
            <a:ext cx="11834341" cy="2661466"/>
          </a:xfrm>
          <a:custGeom>
            <a:avLst/>
            <a:gdLst>
              <a:gd name="T0" fmla="*/ 0 w 32870"/>
              <a:gd name="T1" fmla="*/ 2226 h 7380"/>
              <a:gd name="T2" fmla="*/ 0 w 32870"/>
              <a:gd name="T3" fmla="*/ 7380 h 7380"/>
              <a:gd name="T4" fmla="*/ 14422 w 32870"/>
              <a:gd name="T5" fmla="*/ 4565 h 7380"/>
              <a:gd name="T6" fmla="*/ 32870 w 32870"/>
              <a:gd name="T7" fmla="*/ 4560 h 7380"/>
              <a:gd name="T8" fmla="*/ 32870 w 32870"/>
              <a:gd name="T9" fmla="*/ 0 h 7380"/>
              <a:gd name="T10" fmla="*/ 13779 w 32870"/>
              <a:gd name="T11" fmla="*/ 16 h 7380"/>
              <a:gd name="T12" fmla="*/ 0 w 32870"/>
              <a:gd name="T13" fmla="*/ 2226 h 7380"/>
            </a:gdLst>
            <a:ahLst/>
            <a:cxnLst>
              <a:cxn ang="0">
                <a:pos x="T0" y="T1"/>
              </a:cxn>
              <a:cxn ang="0">
                <a:pos x="T2" y="T3"/>
              </a:cxn>
              <a:cxn ang="0">
                <a:pos x="T4" y="T5"/>
              </a:cxn>
              <a:cxn ang="0">
                <a:pos x="T6" y="T7"/>
              </a:cxn>
              <a:cxn ang="0">
                <a:pos x="T8" y="T9"/>
              </a:cxn>
              <a:cxn ang="0">
                <a:pos x="T10" y="T11"/>
              </a:cxn>
              <a:cxn ang="0">
                <a:pos x="T12" y="T13"/>
              </a:cxn>
            </a:cxnLst>
            <a:rect l="0" t="0" r="r" b="b"/>
            <a:pathLst>
              <a:path w="32870" h="7380">
                <a:moveTo>
                  <a:pt x="0" y="2226"/>
                </a:moveTo>
                <a:lnTo>
                  <a:pt x="0" y="7380"/>
                </a:lnTo>
                <a:cubicBezTo>
                  <a:pt x="4241" y="4951"/>
                  <a:pt x="10659" y="4560"/>
                  <a:pt x="14422" y="4565"/>
                </a:cubicBezTo>
                <a:cubicBezTo>
                  <a:pt x="15294" y="4566"/>
                  <a:pt x="23963" y="4563"/>
                  <a:pt x="32870" y="4560"/>
                </a:cubicBezTo>
                <a:lnTo>
                  <a:pt x="32870" y="0"/>
                </a:lnTo>
                <a:cubicBezTo>
                  <a:pt x="23927" y="3"/>
                  <a:pt x="15112" y="8"/>
                  <a:pt x="13779" y="16"/>
                </a:cubicBezTo>
                <a:cubicBezTo>
                  <a:pt x="7620" y="56"/>
                  <a:pt x="3156" y="876"/>
                  <a:pt x="0" y="2226"/>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3012948" y="1755647"/>
            <a:ext cx="8193024" cy="1170923"/>
          </a:xfrm>
        </p:spPr>
        <p:txBody>
          <a:bodyPr anchor="b" anchorCtr="0"/>
          <a:lstStyle>
            <a:lvl1pPr algn="r">
              <a:lnSpc>
                <a:spcPct val="95000"/>
              </a:lnSpc>
              <a:defRPr sz="3600">
                <a:solidFill>
                  <a:schemeClr val="bg1"/>
                </a:solidFill>
              </a:defRPr>
            </a:lvl1pPr>
          </a:lstStyle>
          <a:p>
            <a:r>
              <a:rPr lang="en-GB" err="1"/>
              <a:t>Loppunosto</a:t>
            </a:r>
            <a:r>
              <a:rPr lang="en-GB"/>
              <a:t> / </a:t>
            </a:r>
            <a:r>
              <a:rPr lang="en-GB" err="1"/>
              <a:t>kehoitus</a:t>
            </a:r>
            <a:r>
              <a:rPr lang="en-GB"/>
              <a:t> </a:t>
            </a:r>
            <a:endParaRPr lang="fi-FI"/>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hasCustomPrompt="1"/>
          </p:nvPr>
        </p:nvSpPr>
        <p:spPr>
          <a:xfrm>
            <a:off x="3012948" y="4375404"/>
            <a:ext cx="8193024" cy="891540"/>
          </a:xfrm>
        </p:spPr>
        <p:txBody>
          <a:bodyPr anchor="ctr" anchorCtr="0"/>
          <a:lstStyle>
            <a:lvl1pPr marL="0" indent="0" algn="r">
              <a:lnSpc>
                <a:spcPct val="11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Esittäjän sähköpostiosoite, tasaus oikeaan reunaan</a:t>
            </a:r>
            <a:br>
              <a:rPr lang="fi-FI"/>
            </a:br>
            <a:r>
              <a:rPr lang="fi-FI"/>
              <a:t>Toinen rivi tarvittaessa</a:t>
            </a:r>
            <a:br>
              <a:rPr lang="fi-FI"/>
            </a:br>
            <a:r>
              <a:rPr lang="fi-FI"/>
              <a:t>ely-keskus.fi</a:t>
            </a:r>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Tree>
    <p:extLst>
      <p:ext uri="{BB962C8B-B14F-4D97-AF65-F5344CB8AC3E}">
        <p14:creationId xmlns:p14="http://schemas.microsoft.com/office/powerpoint/2010/main" val="2494388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matchingName="Lopetus 2" type="title" preserve="1">
  <p:cSld name="Lopetus 2">
    <p:spTree>
      <p:nvGrpSpPr>
        <p:cNvPr id="1" name=""/>
        <p:cNvGrpSpPr/>
        <p:nvPr/>
      </p:nvGrpSpPr>
      <p:grpSpPr>
        <a:xfrm>
          <a:off x="0" y="0"/>
          <a:ext cx="0" cy="0"/>
          <a:chOff x="0" y="0"/>
          <a:chExt cx="0" cy="0"/>
        </a:xfrm>
      </p:grpSpPr>
      <p:sp>
        <p:nvSpPr>
          <p:cNvPr id="14" name="Freeform 7">
            <a:extLst>
              <a:ext uri="{FF2B5EF4-FFF2-40B4-BE49-F238E27FC236}">
                <a16:creationId xmlns:a16="http://schemas.microsoft.com/office/drawing/2014/main" id="{EB983361-D7DC-4F8A-A98B-CCC6C2C2A7A0}"/>
              </a:ext>
              <a:ext uri="{C183D7F6-B498-43B3-948B-1728B52AA6E4}">
                <adec:decorative xmlns:adec="http://schemas.microsoft.com/office/drawing/2017/decorative" val="1"/>
              </a:ext>
            </a:extLst>
          </p:cNvPr>
          <p:cNvSpPr>
            <a:spLocks/>
          </p:cNvSpPr>
          <p:nvPr userDrawn="1"/>
        </p:nvSpPr>
        <p:spPr bwMode="auto">
          <a:xfrm>
            <a:off x="178633" y="180000"/>
            <a:ext cx="11832392" cy="4674025"/>
          </a:xfrm>
          <a:custGeom>
            <a:avLst/>
            <a:gdLst>
              <a:gd name="T0" fmla="*/ 0 w 32870"/>
              <a:gd name="T1" fmla="*/ 4209 h 12980"/>
              <a:gd name="T2" fmla="*/ 0 w 32870"/>
              <a:gd name="T3" fmla="*/ 12980 h 12980"/>
              <a:gd name="T4" fmla="*/ 15744 w 32870"/>
              <a:gd name="T5" fmla="*/ 9766 h 12980"/>
              <a:gd name="T6" fmla="*/ 32870 w 32870"/>
              <a:gd name="T7" fmla="*/ 9751 h 12980"/>
              <a:gd name="T8" fmla="*/ 32870 w 32870"/>
              <a:gd name="T9" fmla="*/ 0 h 12980"/>
              <a:gd name="T10" fmla="*/ 11591 w 32870"/>
              <a:gd name="T11" fmla="*/ 0 h 12980"/>
              <a:gd name="T12" fmla="*/ 0 w 32870"/>
              <a:gd name="T13" fmla="*/ 4209 h 12980"/>
              <a:gd name="connsiteX0" fmla="*/ 0 w 32870"/>
              <a:gd name="connsiteY0" fmla="*/ 4209 h 13212"/>
              <a:gd name="connsiteX1" fmla="*/ 0 w 32870"/>
              <a:gd name="connsiteY1" fmla="*/ 12980 h 13212"/>
              <a:gd name="connsiteX2" fmla="*/ 32870 w 32870"/>
              <a:gd name="connsiteY2" fmla="*/ 9751 h 13212"/>
              <a:gd name="connsiteX3" fmla="*/ 32870 w 32870"/>
              <a:gd name="connsiteY3" fmla="*/ 0 h 13212"/>
              <a:gd name="connsiteX4" fmla="*/ 11591 w 32870"/>
              <a:gd name="connsiteY4" fmla="*/ 0 h 13212"/>
              <a:gd name="connsiteX5" fmla="*/ 0 w 32870"/>
              <a:gd name="connsiteY5" fmla="*/ 4209 h 13212"/>
              <a:gd name="connsiteX0" fmla="*/ 0 w 32870"/>
              <a:gd name="connsiteY0" fmla="*/ 4209 h 12980"/>
              <a:gd name="connsiteX1" fmla="*/ 0 w 32870"/>
              <a:gd name="connsiteY1" fmla="*/ 12980 h 12980"/>
              <a:gd name="connsiteX2" fmla="*/ 32870 w 32870"/>
              <a:gd name="connsiteY2" fmla="*/ 9751 h 12980"/>
              <a:gd name="connsiteX3" fmla="*/ 32870 w 32870"/>
              <a:gd name="connsiteY3" fmla="*/ 0 h 12980"/>
              <a:gd name="connsiteX4" fmla="*/ 11591 w 32870"/>
              <a:gd name="connsiteY4" fmla="*/ 0 h 12980"/>
              <a:gd name="connsiteX5" fmla="*/ 0 w 32870"/>
              <a:gd name="connsiteY5" fmla="*/ 4209 h 12980"/>
              <a:gd name="connsiteX0" fmla="*/ 0 w 32870"/>
              <a:gd name="connsiteY0" fmla="*/ 4209 h 12980"/>
              <a:gd name="connsiteX1" fmla="*/ 0 w 32870"/>
              <a:gd name="connsiteY1" fmla="*/ 12980 h 12980"/>
              <a:gd name="connsiteX2" fmla="*/ 32870 w 32870"/>
              <a:gd name="connsiteY2" fmla="*/ 9751 h 12980"/>
              <a:gd name="connsiteX3" fmla="*/ 32870 w 32870"/>
              <a:gd name="connsiteY3" fmla="*/ 0 h 12980"/>
              <a:gd name="connsiteX4" fmla="*/ 11591 w 32870"/>
              <a:gd name="connsiteY4" fmla="*/ 0 h 12980"/>
              <a:gd name="connsiteX5" fmla="*/ 0 w 32870"/>
              <a:gd name="connsiteY5" fmla="*/ 4209 h 1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70" h="12980">
                <a:moveTo>
                  <a:pt x="0" y="4209"/>
                </a:moveTo>
                <a:lnTo>
                  <a:pt x="0" y="12980"/>
                </a:lnTo>
                <a:cubicBezTo>
                  <a:pt x="-29" y="12959"/>
                  <a:pt x="32843" y="9745"/>
                  <a:pt x="32870" y="9751"/>
                </a:cubicBezTo>
                <a:lnTo>
                  <a:pt x="32870" y="0"/>
                </a:lnTo>
                <a:lnTo>
                  <a:pt x="11591" y="0"/>
                </a:lnTo>
                <a:cubicBezTo>
                  <a:pt x="10879" y="2578"/>
                  <a:pt x="7831" y="4511"/>
                  <a:pt x="0" y="4209"/>
                </a:cubicBez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3" name="Freeform 6">
            <a:extLst>
              <a:ext uri="{FF2B5EF4-FFF2-40B4-BE49-F238E27FC236}">
                <a16:creationId xmlns:a16="http://schemas.microsoft.com/office/drawing/2014/main" id="{8425028E-4F6B-423C-8786-AC5A436EB208}"/>
              </a:ext>
              <a:ext uri="{C183D7F6-B498-43B3-948B-1728B52AA6E4}">
                <adec:decorative xmlns:adec="http://schemas.microsoft.com/office/drawing/2017/decorative" val="1"/>
              </a:ext>
            </a:extLst>
          </p:cNvPr>
          <p:cNvSpPr>
            <a:spLocks/>
          </p:cNvSpPr>
          <p:nvPr userDrawn="1"/>
        </p:nvSpPr>
        <p:spPr bwMode="auto">
          <a:xfrm>
            <a:off x="178633" y="3690302"/>
            <a:ext cx="11832392" cy="2987423"/>
          </a:xfrm>
          <a:custGeom>
            <a:avLst/>
            <a:gdLst>
              <a:gd name="T0" fmla="*/ 0 w 32870"/>
              <a:gd name="T1" fmla="*/ 3229 h 8296"/>
              <a:gd name="T2" fmla="*/ 0 w 32870"/>
              <a:gd name="T3" fmla="*/ 8296 h 8296"/>
              <a:gd name="T4" fmla="*/ 16387 w 32870"/>
              <a:gd name="T5" fmla="*/ 4042 h 8296"/>
              <a:gd name="T6" fmla="*/ 32870 w 32870"/>
              <a:gd name="T7" fmla="*/ 4037 h 8296"/>
              <a:gd name="T8" fmla="*/ 32870 w 32870"/>
              <a:gd name="T9" fmla="*/ 0 h 8296"/>
              <a:gd name="T10" fmla="*/ 15744 w 32870"/>
              <a:gd name="T11" fmla="*/ 14 h 8296"/>
              <a:gd name="T12" fmla="*/ 0 w 32870"/>
              <a:gd name="T13" fmla="*/ 3229 h 8296"/>
            </a:gdLst>
            <a:ahLst/>
            <a:cxnLst>
              <a:cxn ang="0">
                <a:pos x="T0" y="T1"/>
              </a:cxn>
              <a:cxn ang="0">
                <a:pos x="T2" y="T3"/>
              </a:cxn>
              <a:cxn ang="0">
                <a:pos x="T4" y="T5"/>
              </a:cxn>
              <a:cxn ang="0">
                <a:pos x="T6" y="T7"/>
              </a:cxn>
              <a:cxn ang="0">
                <a:pos x="T8" y="T9"/>
              </a:cxn>
              <a:cxn ang="0">
                <a:pos x="T10" y="T11"/>
              </a:cxn>
              <a:cxn ang="0">
                <a:pos x="T12" y="T13"/>
              </a:cxn>
            </a:cxnLst>
            <a:rect l="0" t="0" r="r" b="b"/>
            <a:pathLst>
              <a:path w="32870" h="8296">
                <a:moveTo>
                  <a:pt x="0" y="3229"/>
                </a:moveTo>
                <a:lnTo>
                  <a:pt x="0" y="8296"/>
                </a:lnTo>
                <a:cubicBezTo>
                  <a:pt x="3928" y="4574"/>
                  <a:pt x="11978" y="4035"/>
                  <a:pt x="16387" y="4042"/>
                </a:cubicBezTo>
                <a:cubicBezTo>
                  <a:pt x="17194" y="4043"/>
                  <a:pt x="24691" y="4041"/>
                  <a:pt x="32870" y="4037"/>
                </a:cubicBezTo>
                <a:lnTo>
                  <a:pt x="32870" y="0"/>
                </a:lnTo>
                <a:cubicBezTo>
                  <a:pt x="24550" y="3"/>
                  <a:pt x="16871" y="7"/>
                  <a:pt x="15744" y="14"/>
                </a:cubicBezTo>
                <a:cubicBezTo>
                  <a:pt x="8177" y="64"/>
                  <a:pt x="3166" y="1290"/>
                  <a:pt x="0" y="3229"/>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3012948" y="1126571"/>
            <a:ext cx="8193024" cy="1415461"/>
          </a:xfrm>
        </p:spPr>
        <p:txBody>
          <a:bodyPr anchor="b" anchorCtr="0"/>
          <a:lstStyle>
            <a:lvl1pPr algn="r">
              <a:lnSpc>
                <a:spcPct val="95000"/>
              </a:lnSpc>
              <a:defRPr sz="3600">
                <a:solidFill>
                  <a:schemeClr val="bg1"/>
                </a:solidFill>
              </a:defRPr>
            </a:lvl1pPr>
          </a:lstStyle>
          <a:p>
            <a:r>
              <a:rPr lang="en-GB" err="1"/>
              <a:t>Loppunosto</a:t>
            </a:r>
            <a:r>
              <a:rPr lang="en-GB"/>
              <a:t> / </a:t>
            </a:r>
            <a:r>
              <a:rPr lang="en-GB" err="1"/>
              <a:t>kehoitus</a:t>
            </a:r>
            <a:r>
              <a:rPr lang="en-GB"/>
              <a:t> </a:t>
            </a:r>
            <a:endParaRPr lang="fi-FI"/>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hasCustomPrompt="1"/>
          </p:nvPr>
        </p:nvSpPr>
        <p:spPr>
          <a:xfrm>
            <a:off x="3012948" y="5518404"/>
            <a:ext cx="8193024" cy="891540"/>
          </a:xfrm>
        </p:spPr>
        <p:txBody>
          <a:bodyPr anchor="ctr" anchorCtr="0"/>
          <a:lstStyle>
            <a:lvl1pPr marL="0" indent="0" algn="r">
              <a:lnSpc>
                <a:spcPct val="110000"/>
              </a:lnSpc>
              <a:spcBef>
                <a:spcPts val="0"/>
              </a:spcBef>
              <a:buNone/>
              <a:defRPr sz="1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Esittäjän sähköpostiosoite, tasaus oikeaan reunaan</a:t>
            </a:r>
            <a:br>
              <a:rPr lang="fi-FI"/>
            </a:br>
            <a:r>
              <a:rPr lang="fi-FI"/>
              <a:t>Toinen rivi tarvittaessa</a:t>
            </a:r>
            <a:br>
              <a:rPr lang="fi-FI"/>
            </a:br>
            <a:r>
              <a:rPr lang="fi-FI"/>
              <a:t>ely-keskus.fi</a:t>
            </a:r>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Tree>
    <p:extLst>
      <p:ext uri="{BB962C8B-B14F-4D97-AF65-F5344CB8AC3E}">
        <p14:creationId xmlns:p14="http://schemas.microsoft.com/office/powerpoint/2010/main" val="2955330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matchingName="Lopetus 3" type="title" preserve="1">
  <p:cSld name="Lopetus 3">
    <p:spTree>
      <p:nvGrpSpPr>
        <p:cNvPr id="1" name=""/>
        <p:cNvGrpSpPr/>
        <p:nvPr/>
      </p:nvGrpSpPr>
      <p:grpSpPr>
        <a:xfrm>
          <a:off x="0" y="0"/>
          <a:ext cx="0" cy="0"/>
          <a:chOff x="0" y="0"/>
          <a:chExt cx="0" cy="0"/>
        </a:xfrm>
      </p:grpSpPr>
      <p:sp>
        <p:nvSpPr>
          <p:cNvPr id="14" name="Freeform 19">
            <a:extLst>
              <a:ext uri="{FF2B5EF4-FFF2-40B4-BE49-F238E27FC236}">
                <a16:creationId xmlns:a16="http://schemas.microsoft.com/office/drawing/2014/main" id="{2F879CE6-F58E-498F-BFF8-897875D76444}"/>
              </a:ext>
              <a:ext uri="{C183D7F6-B498-43B3-948B-1728B52AA6E4}">
                <adec:decorative xmlns:adec="http://schemas.microsoft.com/office/drawing/2017/decorative" val="1"/>
              </a:ext>
            </a:extLst>
          </p:cNvPr>
          <p:cNvSpPr>
            <a:spLocks/>
          </p:cNvSpPr>
          <p:nvPr userDrawn="1"/>
        </p:nvSpPr>
        <p:spPr bwMode="auto">
          <a:xfrm>
            <a:off x="178632" y="1098364"/>
            <a:ext cx="11832393" cy="4209097"/>
          </a:xfrm>
          <a:custGeom>
            <a:avLst/>
            <a:gdLst>
              <a:gd name="T0" fmla="*/ 0 w 32870"/>
              <a:gd name="T1" fmla="*/ 4740 h 11678"/>
              <a:gd name="T2" fmla="*/ 0 w 32870"/>
              <a:gd name="T3" fmla="*/ 11678 h 11678"/>
              <a:gd name="T4" fmla="*/ 19067 w 32870"/>
              <a:gd name="T5" fmla="*/ 4661 h 11678"/>
              <a:gd name="T6" fmla="*/ 32870 w 32870"/>
              <a:gd name="T7" fmla="*/ 4650 h 11678"/>
              <a:gd name="T8" fmla="*/ 32870 w 32870"/>
              <a:gd name="T9" fmla="*/ 0 h 11678"/>
              <a:gd name="T10" fmla="*/ 18389 w 32870"/>
              <a:gd name="T11" fmla="*/ 20 h 11678"/>
              <a:gd name="T12" fmla="*/ 0 w 32870"/>
              <a:gd name="T13" fmla="*/ 4740 h 11678"/>
              <a:gd name="connsiteX0" fmla="*/ 0 w 32870"/>
              <a:gd name="connsiteY0" fmla="*/ 4740 h 11678"/>
              <a:gd name="connsiteX1" fmla="*/ 0 w 32870"/>
              <a:gd name="connsiteY1" fmla="*/ 11678 h 11678"/>
              <a:gd name="connsiteX2" fmla="*/ 32870 w 32870"/>
              <a:gd name="connsiteY2" fmla="*/ 4650 h 11678"/>
              <a:gd name="connsiteX3" fmla="*/ 32870 w 32870"/>
              <a:gd name="connsiteY3" fmla="*/ 0 h 11678"/>
              <a:gd name="connsiteX4" fmla="*/ 18389 w 32870"/>
              <a:gd name="connsiteY4" fmla="*/ 20 h 11678"/>
              <a:gd name="connsiteX5" fmla="*/ 0 w 32870"/>
              <a:gd name="connsiteY5" fmla="*/ 4740 h 11678"/>
              <a:gd name="connsiteX0" fmla="*/ 0 w 32870"/>
              <a:gd name="connsiteY0" fmla="*/ 4740 h 11678"/>
              <a:gd name="connsiteX1" fmla="*/ 0 w 32870"/>
              <a:gd name="connsiteY1" fmla="*/ 11678 h 11678"/>
              <a:gd name="connsiteX2" fmla="*/ 32870 w 32870"/>
              <a:gd name="connsiteY2" fmla="*/ 4650 h 11678"/>
              <a:gd name="connsiteX3" fmla="*/ 32870 w 32870"/>
              <a:gd name="connsiteY3" fmla="*/ 0 h 11678"/>
              <a:gd name="connsiteX4" fmla="*/ 18389 w 32870"/>
              <a:gd name="connsiteY4" fmla="*/ 20 h 11678"/>
              <a:gd name="connsiteX5" fmla="*/ 0 w 32870"/>
              <a:gd name="connsiteY5" fmla="*/ 4740 h 11678"/>
              <a:gd name="connsiteX0" fmla="*/ 0 w 32870"/>
              <a:gd name="connsiteY0" fmla="*/ 4740 h 11678"/>
              <a:gd name="connsiteX1" fmla="*/ 0 w 32870"/>
              <a:gd name="connsiteY1" fmla="*/ 11678 h 11678"/>
              <a:gd name="connsiteX2" fmla="*/ 32870 w 32870"/>
              <a:gd name="connsiteY2" fmla="*/ 4650 h 11678"/>
              <a:gd name="connsiteX3" fmla="*/ 32870 w 32870"/>
              <a:gd name="connsiteY3" fmla="*/ 0 h 11678"/>
              <a:gd name="connsiteX4" fmla="*/ 18389 w 32870"/>
              <a:gd name="connsiteY4" fmla="*/ 20 h 11678"/>
              <a:gd name="connsiteX5" fmla="*/ 0 w 32870"/>
              <a:gd name="connsiteY5" fmla="*/ 4740 h 1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70" h="11678">
                <a:moveTo>
                  <a:pt x="0" y="4740"/>
                </a:moveTo>
                <a:lnTo>
                  <a:pt x="0" y="11678"/>
                </a:lnTo>
                <a:cubicBezTo>
                  <a:pt x="-29" y="11700"/>
                  <a:pt x="32880" y="4689"/>
                  <a:pt x="32870" y="4650"/>
                </a:cubicBezTo>
                <a:lnTo>
                  <a:pt x="32870" y="0"/>
                </a:lnTo>
                <a:lnTo>
                  <a:pt x="18389" y="20"/>
                </a:lnTo>
                <a:cubicBezTo>
                  <a:pt x="8797" y="82"/>
                  <a:pt x="3102" y="1939"/>
                  <a:pt x="0" y="4740"/>
                </a:cubicBezTo>
                <a:close/>
              </a:path>
            </a:pathLst>
          </a:custGeom>
          <a:solidFill>
            <a:srgbClr val="57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13" name="Freeform 18">
            <a:extLst>
              <a:ext uri="{FF2B5EF4-FFF2-40B4-BE49-F238E27FC236}">
                <a16:creationId xmlns:a16="http://schemas.microsoft.com/office/drawing/2014/main" id="{3308B19E-C811-4A25-A76E-FD76B06EDCE9}"/>
              </a:ext>
              <a:ext uri="{C183D7F6-B498-43B3-948B-1728B52AA6E4}">
                <adec:decorative xmlns:adec="http://schemas.microsoft.com/office/drawing/2017/decorative" val="1"/>
              </a:ext>
            </a:extLst>
          </p:cNvPr>
          <p:cNvSpPr>
            <a:spLocks/>
          </p:cNvSpPr>
          <p:nvPr userDrawn="1"/>
        </p:nvSpPr>
        <p:spPr bwMode="auto">
          <a:xfrm>
            <a:off x="178632" y="1098364"/>
            <a:ext cx="11832393" cy="5588186"/>
          </a:xfrm>
          <a:custGeom>
            <a:avLst/>
            <a:gdLst>
              <a:gd name="T0" fmla="*/ 32870 w 32870"/>
              <a:gd name="T1" fmla="*/ 15500 h 15500"/>
              <a:gd name="T2" fmla="*/ 32870 w 32870"/>
              <a:gd name="T3" fmla="*/ 0 h 15500"/>
              <a:gd name="T4" fmla="*/ 32870 w 32870"/>
              <a:gd name="T5" fmla="*/ 0 h 15500"/>
              <a:gd name="T6" fmla="*/ 32870 w 32870"/>
              <a:gd name="T7" fmla="*/ 4650 h 15500"/>
              <a:gd name="T8" fmla="*/ 19067 w 32870"/>
              <a:gd name="T9" fmla="*/ 4661 h 15500"/>
              <a:gd name="T10" fmla="*/ 0 w 32870"/>
              <a:gd name="T11" fmla="*/ 11678 h 15500"/>
              <a:gd name="T12" fmla="*/ 0 w 32870"/>
              <a:gd name="T13" fmla="*/ 15500 h 15500"/>
              <a:gd name="T14" fmla="*/ 32870 w 32870"/>
              <a:gd name="T15" fmla="*/ 15500 h 15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870" h="15500">
                <a:moveTo>
                  <a:pt x="32870" y="15500"/>
                </a:moveTo>
                <a:lnTo>
                  <a:pt x="32870" y="0"/>
                </a:lnTo>
                <a:lnTo>
                  <a:pt x="32870" y="0"/>
                </a:lnTo>
                <a:lnTo>
                  <a:pt x="32870" y="4650"/>
                </a:lnTo>
                <a:cubicBezTo>
                  <a:pt x="28166" y="4655"/>
                  <a:pt x="20406" y="4664"/>
                  <a:pt x="19067" y="4661"/>
                </a:cubicBezTo>
                <a:cubicBezTo>
                  <a:pt x="13563" y="4653"/>
                  <a:pt x="2671" y="5450"/>
                  <a:pt x="0" y="11678"/>
                </a:cubicBezTo>
                <a:lnTo>
                  <a:pt x="0" y="15500"/>
                </a:lnTo>
                <a:lnTo>
                  <a:pt x="32870" y="15500"/>
                </a:lnTo>
                <a:close/>
              </a:path>
            </a:pathLst>
          </a:custGeom>
          <a:solidFill>
            <a:srgbClr val="003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a:p>
        </p:txBody>
      </p:sp>
      <p:sp>
        <p:nvSpPr>
          <p:cNvPr id="2" name="Otsikko 1">
            <a:extLst>
              <a:ext uri="{FF2B5EF4-FFF2-40B4-BE49-F238E27FC236}">
                <a16:creationId xmlns:a16="http://schemas.microsoft.com/office/drawing/2014/main" id="{A64E3C18-FA14-4185-BE65-FDB45FD88D66}"/>
              </a:ext>
            </a:extLst>
          </p:cNvPr>
          <p:cNvSpPr>
            <a:spLocks noGrp="1"/>
          </p:cNvSpPr>
          <p:nvPr>
            <p:ph type="ctrTitle" hasCustomPrompt="1"/>
          </p:nvPr>
        </p:nvSpPr>
        <p:spPr>
          <a:xfrm>
            <a:off x="3012948" y="3428999"/>
            <a:ext cx="8193024" cy="1125203"/>
          </a:xfrm>
        </p:spPr>
        <p:txBody>
          <a:bodyPr anchor="b" anchorCtr="0"/>
          <a:lstStyle>
            <a:lvl1pPr algn="r">
              <a:lnSpc>
                <a:spcPct val="95000"/>
              </a:lnSpc>
              <a:defRPr sz="3600">
                <a:solidFill>
                  <a:schemeClr val="bg1"/>
                </a:solidFill>
              </a:defRPr>
            </a:lvl1pPr>
          </a:lstStyle>
          <a:p>
            <a:r>
              <a:rPr lang="en-GB" err="1"/>
              <a:t>Loppunosto</a:t>
            </a:r>
            <a:r>
              <a:rPr lang="en-GB"/>
              <a:t> / </a:t>
            </a:r>
            <a:r>
              <a:rPr lang="en-GB" err="1"/>
              <a:t>kehoitus</a:t>
            </a:r>
            <a:r>
              <a:rPr lang="en-GB"/>
              <a:t> </a:t>
            </a:r>
            <a:endParaRPr lang="fi-FI"/>
          </a:p>
        </p:txBody>
      </p:sp>
      <p:sp>
        <p:nvSpPr>
          <p:cNvPr id="3" name="Alaotsikko 2">
            <a:extLst>
              <a:ext uri="{FF2B5EF4-FFF2-40B4-BE49-F238E27FC236}">
                <a16:creationId xmlns:a16="http://schemas.microsoft.com/office/drawing/2014/main" id="{433C471F-8838-4C25-8EB0-AD6B71B38A69}"/>
              </a:ext>
            </a:extLst>
          </p:cNvPr>
          <p:cNvSpPr>
            <a:spLocks noGrp="1"/>
          </p:cNvSpPr>
          <p:nvPr>
            <p:ph type="subTitle" idx="1" hasCustomPrompt="1"/>
          </p:nvPr>
        </p:nvSpPr>
        <p:spPr>
          <a:xfrm>
            <a:off x="3012948" y="5102352"/>
            <a:ext cx="8193024" cy="891540"/>
          </a:xfrm>
        </p:spPr>
        <p:txBody>
          <a:bodyPr anchor="ctr" anchorCtr="0"/>
          <a:lstStyle>
            <a:lvl1pPr marL="0" indent="0" algn="r">
              <a:lnSpc>
                <a:spcPct val="11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Esittäjän sähköpostiosoite, tasaus oikeaan reunaan</a:t>
            </a:r>
            <a:br>
              <a:rPr lang="fi-FI"/>
            </a:br>
            <a:r>
              <a:rPr lang="fi-FI"/>
              <a:t>Toinen rivi tarvittaessa</a:t>
            </a:r>
            <a:br>
              <a:rPr lang="fi-FI"/>
            </a:br>
            <a:r>
              <a:rPr lang="fi-FI"/>
              <a:t>ely-keskus.fi</a:t>
            </a:r>
          </a:p>
        </p:txBody>
      </p:sp>
      <p:pic>
        <p:nvPicPr>
          <p:cNvPr id="10" name="Kuva 9" descr="Elinkeino-, liikenne- ja ympäristökeskus logo">
            <a:extLst>
              <a:ext uri="{FF2B5EF4-FFF2-40B4-BE49-F238E27FC236}">
                <a16:creationId xmlns:a16="http://schemas.microsoft.com/office/drawing/2014/main" id="{BCDB66CB-32B3-4919-96E8-5955B8D699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897" y="453334"/>
            <a:ext cx="2538989" cy="652273"/>
          </a:xfrm>
          <a:prstGeom prst="rect">
            <a:avLst/>
          </a:prstGeom>
        </p:spPr>
      </p:pic>
    </p:spTree>
    <p:extLst>
      <p:ext uri="{BB962C8B-B14F-4D97-AF65-F5344CB8AC3E}">
        <p14:creationId xmlns:p14="http://schemas.microsoft.com/office/powerpoint/2010/main" val="710859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tusivu 1">
    <p:spTree>
      <p:nvGrpSpPr>
        <p:cNvPr id="1" name=""/>
        <p:cNvGrpSpPr/>
        <p:nvPr/>
      </p:nvGrpSpPr>
      <p:grpSpPr>
        <a:xfrm>
          <a:off x="0" y="0"/>
          <a:ext cx="0" cy="0"/>
          <a:chOff x="0" y="0"/>
          <a:chExt cx="0" cy="0"/>
        </a:xfrm>
      </p:grpSpPr>
      <p:sp>
        <p:nvSpPr>
          <p:cNvPr id="4" name="Tekstin paikkamerkki 3">
            <a:extLst>
              <a:ext uri="{FF2B5EF4-FFF2-40B4-BE49-F238E27FC236}">
                <a16:creationId xmlns:a16="http://schemas.microsoft.com/office/drawing/2014/main" id="{83083B8E-C8F3-8F40-8BBA-AECA9893B062}"/>
              </a:ext>
            </a:extLst>
          </p:cNvPr>
          <p:cNvSpPr>
            <a:spLocks noGrp="1"/>
          </p:cNvSpPr>
          <p:nvPr>
            <p:ph type="body" sz="quarter" idx="18" hasCustomPrompt="1"/>
          </p:nvPr>
        </p:nvSpPr>
        <p:spPr>
          <a:xfrm>
            <a:off x="2288732" y="3751914"/>
            <a:ext cx="7614535" cy="605367"/>
          </a:xfrm>
        </p:spPr>
        <p:txBody>
          <a:bodyPr>
            <a:noAutofit/>
          </a:bodyPr>
          <a:lstStyle>
            <a:lvl1pPr marL="0" indent="0" algn="ctr">
              <a:lnSpc>
                <a:spcPct val="80000"/>
              </a:lnSpc>
              <a:buNone/>
              <a:defRPr sz="2800" b="1">
                <a:solidFill>
                  <a:schemeClr val="accent1"/>
                </a:solidFill>
              </a:defRPr>
            </a:lvl1pPr>
            <a:lvl2pPr marL="239177" indent="0">
              <a:buNone/>
              <a:defRPr/>
            </a:lvl2pPr>
            <a:lvl3pPr marL="474121" indent="0">
              <a:buNone/>
              <a:defRPr/>
            </a:lvl3pPr>
            <a:lvl4pPr marL="601118" indent="0">
              <a:buNone/>
              <a:defRPr/>
            </a:lvl4pPr>
            <a:lvl5pPr marL="719649" indent="0">
              <a:buNone/>
              <a:defRPr/>
            </a:lvl5pPr>
          </a:lstStyle>
          <a:p>
            <a:pPr lvl="0"/>
            <a:r>
              <a:rPr lang="fi-FI"/>
              <a:t>Muokkaa tekstiä</a:t>
            </a:r>
          </a:p>
        </p:txBody>
      </p:sp>
      <p:sp>
        <p:nvSpPr>
          <p:cNvPr id="2" name="Otsikko 1">
            <a:extLst>
              <a:ext uri="{FF2B5EF4-FFF2-40B4-BE49-F238E27FC236}">
                <a16:creationId xmlns:a16="http://schemas.microsoft.com/office/drawing/2014/main" id="{C9BAD7AB-354C-6E4D-B492-4D290DF3E628}"/>
              </a:ext>
            </a:extLst>
          </p:cNvPr>
          <p:cNvSpPr>
            <a:spLocks noGrp="1"/>
          </p:cNvSpPr>
          <p:nvPr>
            <p:ph type="title" hasCustomPrompt="1"/>
          </p:nvPr>
        </p:nvSpPr>
        <p:spPr>
          <a:xfrm>
            <a:off x="2288732" y="2610400"/>
            <a:ext cx="7614535" cy="1141514"/>
          </a:xfrm>
        </p:spPr>
        <p:txBody>
          <a:bodyPr>
            <a:normAutofit/>
          </a:bodyPr>
          <a:lstStyle>
            <a:lvl1pPr algn="ctr">
              <a:defRPr sz="4800">
                <a:solidFill>
                  <a:schemeClr val="accent1"/>
                </a:solidFill>
              </a:defRPr>
            </a:lvl1pPr>
          </a:lstStyle>
          <a:p>
            <a:r>
              <a:rPr lang="fi-FI"/>
              <a:t>MUOKKAA TEKSTIÄ</a:t>
            </a:r>
          </a:p>
        </p:txBody>
      </p:sp>
      <p:pic>
        <p:nvPicPr>
          <p:cNvPr id="6" name="Kuva 5" descr="Kuva, joka sisältää kohteen teksti, kello&#10;&#10;Kuvaus luotu automaattisesti">
            <a:extLst>
              <a:ext uri="{FF2B5EF4-FFF2-40B4-BE49-F238E27FC236}">
                <a16:creationId xmlns:a16="http://schemas.microsoft.com/office/drawing/2014/main" id="{C67B3271-94D8-4896-9F2F-D36A3D2A3EC7}"/>
              </a:ext>
            </a:extLst>
          </p:cNvPr>
          <p:cNvPicPr>
            <a:picLocks noChangeAspect="1"/>
          </p:cNvPicPr>
          <p:nvPr userDrawn="1"/>
        </p:nvPicPr>
        <p:blipFill>
          <a:blip r:embed="rId2"/>
          <a:stretch>
            <a:fillRect/>
          </a:stretch>
        </p:blipFill>
        <p:spPr>
          <a:xfrm>
            <a:off x="10089751" y="6139935"/>
            <a:ext cx="1782003" cy="457339"/>
          </a:xfrm>
          <a:prstGeom prst="rect">
            <a:avLst/>
          </a:prstGeom>
        </p:spPr>
      </p:pic>
    </p:spTree>
    <p:extLst>
      <p:ext uri="{BB962C8B-B14F-4D97-AF65-F5344CB8AC3E}">
        <p14:creationId xmlns:p14="http://schemas.microsoft.com/office/powerpoint/2010/main" val="26744823"/>
      </p:ext>
    </p:extLst>
  </p:cSld>
  <p:clrMapOvr>
    <a:masterClrMapping/>
  </p:clrMapOvr>
  <p:transition spd="slow"/>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_Etusivu 1">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B89A57B-FC40-FD48-9AD0-BF3E916CB79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8045" y="6433876"/>
            <a:ext cx="1782003" cy="262314"/>
          </a:xfrm>
          <a:prstGeom prst="rect">
            <a:avLst/>
          </a:prstGeom>
        </p:spPr>
      </p:pic>
      <p:sp>
        <p:nvSpPr>
          <p:cNvPr id="7" name="Tekstin paikkamerkki 3">
            <a:extLst>
              <a:ext uri="{FF2B5EF4-FFF2-40B4-BE49-F238E27FC236}">
                <a16:creationId xmlns:a16="http://schemas.microsoft.com/office/drawing/2014/main" id="{2AB6431F-D990-634C-B01B-1F862BB559E2}"/>
              </a:ext>
            </a:extLst>
          </p:cNvPr>
          <p:cNvSpPr>
            <a:spLocks noGrp="1"/>
          </p:cNvSpPr>
          <p:nvPr>
            <p:ph type="body" sz="quarter" idx="18" hasCustomPrompt="1"/>
          </p:nvPr>
        </p:nvSpPr>
        <p:spPr>
          <a:xfrm>
            <a:off x="2288732" y="3751914"/>
            <a:ext cx="7614535" cy="605367"/>
          </a:xfrm>
        </p:spPr>
        <p:txBody>
          <a:bodyPr>
            <a:noAutofit/>
          </a:bodyPr>
          <a:lstStyle>
            <a:lvl1pPr marL="0" indent="0" algn="ctr">
              <a:lnSpc>
                <a:spcPct val="80000"/>
              </a:lnSpc>
              <a:buNone/>
              <a:defRPr sz="2800" b="1">
                <a:solidFill>
                  <a:schemeClr val="bg1"/>
                </a:solidFill>
              </a:defRPr>
            </a:lvl1pPr>
            <a:lvl2pPr marL="239177" indent="0">
              <a:buNone/>
              <a:defRPr/>
            </a:lvl2pPr>
            <a:lvl3pPr marL="474121" indent="0">
              <a:buNone/>
              <a:defRPr/>
            </a:lvl3pPr>
            <a:lvl4pPr marL="601118" indent="0">
              <a:buNone/>
              <a:defRPr/>
            </a:lvl4pPr>
            <a:lvl5pPr marL="719649" indent="0">
              <a:buNone/>
              <a:defRPr/>
            </a:lvl5pPr>
          </a:lstStyle>
          <a:p>
            <a:pPr lvl="0"/>
            <a:r>
              <a:rPr lang="fi-FI"/>
              <a:t>Muokkaa tekstiä</a:t>
            </a:r>
          </a:p>
        </p:txBody>
      </p:sp>
      <p:sp>
        <p:nvSpPr>
          <p:cNvPr id="8" name="Otsikko 1">
            <a:extLst>
              <a:ext uri="{FF2B5EF4-FFF2-40B4-BE49-F238E27FC236}">
                <a16:creationId xmlns:a16="http://schemas.microsoft.com/office/drawing/2014/main" id="{19A7B8F7-4D00-DF47-BCBA-7CB106D7DF34}"/>
              </a:ext>
            </a:extLst>
          </p:cNvPr>
          <p:cNvSpPr>
            <a:spLocks noGrp="1"/>
          </p:cNvSpPr>
          <p:nvPr>
            <p:ph type="title" hasCustomPrompt="1"/>
          </p:nvPr>
        </p:nvSpPr>
        <p:spPr>
          <a:xfrm>
            <a:off x="2288732" y="2610400"/>
            <a:ext cx="7614535" cy="1141514"/>
          </a:xfrm>
        </p:spPr>
        <p:txBody>
          <a:bodyPr>
            <a:normAutofit/>
          </a:bodyPr>
          <a:lstStyle>
            <a:lvl1pPr algn="ctr">
              <a:defRPr sz="4800">
                <a:solidFill>
                  <a:schemeClr val="bg1"/>
                </a:solidFill>
              </a:defRPr>
            </a:lvl1pPr>
          </a:lstStyle>
          <a:p>
            <a:r>
              <a:rPr lang="fi-FI"/>
              <a:t>MUOKKAA TEKSTIÄ</a:t>
            </a:r>
          </a:p>
        </p:txBody>
      </p:sp>
      <p:pic>
        <p:nvPicPr>
          <p:cNvPr id="11" name="Kuva 10" descr="Kuva, joka sisältää kohteen teksti, clipart-kuva&#10;&#10;Kuvaus luotu automaattisesti">
            <a:extLst>
              <a:ext uri="{FF2B5EF4-FFF2-40B4-BE49-F238E27FC236}">
                <a16:creationId xmlns:a16="http://schemas.microsoft.com/office/drawing/2014/main" id="{0EC8A4B9-8397-4D01-9A50-B3C11E75E9D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90028" y="6140529"/>
            <a:ext cx="1782003" cy="457340"/>
          </a:xfrm>
          <a:prstGeom prst="rect">
            <a:avLst/>
          </a:prstGeom>
        </p:spPr>
      </p:pic>
    </p:spTree>
    <p:extLst>
      <p:ext uri="{BB962C8B-B14F-4D97-AF65-F5344CB8AC3E}">
        <p14:creationId xmlns:p14="http://schemas.microsoft.com/office/powerpoint/2010/main" val="3254886121"/>
      </p:ext>
    </p:extLst>
  </p:cSld>
  <p:clrMapOvr>
    <a:masterClrMapping/>
  </p:clrMapOvr>
  <p:transition spd="slow"/>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Väyläpalvelut">
    <p:spTree>
      <p:nvGrpSpPr>
        <p:cNvPr id="1" name=""/>
        <p:cNvGrpSpPr/>
        <p:nvPr/>
      </p:nvGrpSpPr>
      <p:grpSpPr>
        <a:xfrm>
          <a:off x="0" y="0"/>
          <a:ext cx="0" cy="0"/>
          <a:chOff x="0" y="0"/>
          <a:chExt cx="0" cy="0"/>
        </a:xfrm>
      </p:grpSpPr>
      <p:sp>
        <p:nvSpPr>
          <p:cNvPr id="4" name="Tekstin paikkamerkki 3">
            <a:extLst>
              <a:ext uri="{FF2B5EF4-FFF2-40B4-BE49-F238E27FC236}">
                <a16:creationId xmlns:a16="http://schemas.microsoft.com/office/drawing/2014/main" id="{83083B8E-C8F3-8F40-8BBA-AECA9893B062}"/>
              </a:ext>
            </a:extLst>
          </p:cNvPr>
          <p:cNvSpPr>
            <a:spLocks noGrp="1"/>
          </p:cNvSpPr>
          <p:nvPr>
            <p:ph type="body" sz="quarter" idx="18" hasCustomPrompt="1"/>
          </p:nvPr>
        </p:nvSpPr>
        <p:spPr>
          <a:xfrm>
            <a:off x="2288732" y="5219288"/>
            <a:ext cx="7614535" cy="605367"/>
          </a:xfrm>
        </p:spPr>
        <p:txBody>
          <a:bodyPr>
            <a:noAutofit/>
          </a:bodyPr>
          <a:lstStyle>
            <a:lvl1pPr marL="0" indent="0" algn="ctr">
              <a:lnSpc>
                <a:spcPct val="80000"/>
              </a:lnSpc>
              <a:buNone/>
              <a:defRPr sz="2800" b="1">
                <a:solidFill>
                  <a:schemeClr val="accent1"/>
                </a:solidFill>
              </a:defRPr>
            </a:lvl1pPr>
            <a:lvl2pPr marL="239177" indent="0">
              <a:buNone/>
              <a:defRPr/>
            </a:lvl2pPr>
            <a:lvl3pPr marL="474121" indent="0">
              <a:buNone/>
              <a:defRPr/>
            </a:lvl3pPr>
            <a:lvl4pPr marL="601118" indent="0">
              <a:buNone/>
              <a:defRPr/>
            </a:lvl4pPr>
            <a:lvl5pPr marL="719649" indent="0">
              <a:buNone/>
              <a:defRPr/>
            </a:lvl5pPr>
          </a:lstStyle>
          <a:p>
            <a:pPr lvl="0"/>
            <a:r>
              <a:rPr lang="fi-FI"/>
              <a:t>Muokkaa tekstiä</a:t>
            </a:r>
          </a:p>
        </p:txBody>
      </p:sp>
      <p:sp>
        <p:nvSpPr>
          <p:cNvPr id="2" name="Otsikko 1">
            <a:extLst>
              <a:ext uri="{FF2B5EF4-FFF2-40B4-BE49-F238E27FC236}">
                <a16:creationId xmlns:a16="http://schemas.microsoft.com/office/drawing/2014/main" id="{C9BAD7AB-354C-6E4D-B492-4D290DF3E628}"/>
              </a:ext>
            </a:extLst>
          </p:cNvPr>
          <p:cNvSpPr>
            <a:spLocks noGrp="1"/>
          </p:cNvSpPr>
          <p:nvPr>
            <p:ph type="title" hasCustomPrompt="1"/>
          </p:nvPr>
        </p:nvSpPr>
        <p:spPr>
          <a:xfrm>
            <a:off x="1303693" y="4485737"/>
            <a:ext cx="9584611" cy="712276"/>
          </a:xfrm>
        </p:spPr>
        <p:txBody>
          <a:bodyPr>
            <a:normAutofit/>
          </a:bodyPr>
          <a:lstStyle>
            <a:lvl1pPr algn="ctr">
              <a:defRPr sz="4400">
                <a:solidFill>
                  <a:schemeClr val="accent1"/>
                </a:solidFill>
              </a:defRPr>
            </a:lvl1pPr>
          </a:lstStyle>
          <a:p>
            <a:r>
              <a:rPr lang="fi-FI"/>
              <a:t>VÄYLÄPALVELUT</a:t>
            </a:r>
          </a:p>
        </p:txBody>
      </p:sp>
      <p:sp>
        <p:nvSpPr>
          <p:cNvPr id="5" name="Kuvan paikkamerkki 2">
            <a:extLst>
              <a:ext uri="{FF2B5EF4-FFF2-40B4-BE49-F238E27FC236}">
                <a16:creationId xmlns:a16="http://schemas.microsoft.com/office/drawing/2014/main" id="{8B95AD28-397A-5746-AA4D-2DE1F403BA1B}"/>
              </a:ext>
            </a:extLst>
          </p:cNvPr>
          <p:cNvSpPr>
            <a:spLocks noGrp="1"/>
          </p:cNvSpPr>
          <p:nvPr>
            <p:ph type="pic" sz="quarter" idx="20"/>
          </p:nvPr>
        </p:nvSpPr>
        <p:spPr>
          <a:xfrm>
            <a:off x="0" y="1"/>
            <a:ext cx="12192000" cy="3987208"/>
          </a:xfrm>
        </p:spPr>
        <p:txBody>
          <a:bodyPr/>
          <a:lstStyle/>
          <a:p>
            <a:r>
              <a:rPr lang="fi-FI"/>
              <a:t>Lisää kuva napsauttamalla kuvaketta</a:t>
            </a:r>
          </a:p>
        </p:txBody>
      </p:sp>
      <p:pic>
        <p:nvPicPr>
          <p:cNvPr id="6" name="Kuva 5" descr="Kuva, joka sisältää kohteen teksti, kello&#10;&#10;Kuvaus luotu automaattisesti">
            <a:extLst>
              <a:ext uri="{FF2B5EF4-FFF2-40B4-BE49-F238E27FC236}">
                <a16:creationId xmlns:a16="http://schemas.microsoft.com/office/drawing/2014/main" id="{1A2BAB39-C3F1-45C9-A41D-3BD8B18D9754}"/>
              </a:ext>
            </a:extLst>
          </p:cNvPr>
          <p:cNvPicPr>
            <a:picLocks noChangeAspect="1"/>
          </p:cNvPicPr>
          <p:nvPr userDrawn="1"/>
        </p:nvPicPr>
        <p:blipFill>
          <a:blip r:embed="rId2"/>
          <a:stretch>
            <a:fillRect/>
          </a:stretch>
        </p:blipFill>
        <p:spPr>
          <a:xfrm>
            <a:off x="10089751" y="6139935"/>
            <a:ext cx="1782003" cy="457339"/>
          </a:xfrm>
          <a:prstGeom prst="rect">
            <a:avLst/>
          </a:prstGeom>
        </p:spPr>
      </p:pic>
    </p:spTree>
    <p:extLst>
      <p:ext uri="{BB962C8B-B14F-4D97-AF65-F5344CB8AC3E}">
        <p14:creationId xmlns:p14="http://schemas.microsoft.com/office/powerpoint/2010/main" val="2268060518"/>
      </p:ext>
    </p:extLst>
  </p:cSld>
  <p:clrMapOvr>
    <a:masterClrMapping/>
  </p:clrMapOvr>
  <p:transition spd="slow"/>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unnossapitopalvelut">
    <p:spTree>
      <p:nvGrpSpPr>
        <p:cNvPr id="1" name=""/>
        <p:cNvGrpSpPr/>
        <p:nvPr/>
      </p:nvGrpSpPr>
      <p:grpSpPr>
        <a:xfrm>
          <a:off x="0" y="0"/>
          <a:ext cx="0" cy="0"/>
          <a:chOff x="0" y="0"/>
          <a:chExt cx="0" cy="0"/>
        </a:xfrm>
      </p:grpSpPr>
      <p:sp>
        <p:nvSpPr>
          <p:cNvPr id="4" name="Tekstin paikkamerkki 3">
            <a:extLst>
              <a:ext uri="{FF2B5EF4-FFF2-40B4-BE49-F238E27FC236}">
                <a16:creationId xmlns:a16="http://schemas.microsoft.com/office/drawing/2014/main" id="{83083B8E-C8F3-8F40-8BBA-AECA9893B062}"/>
              </a:ext>
            </a:extLst>
          </p:cNvPr>
          <p:cNvSpPr>
            <a:spLocks noGrp="1"/>
          </p:cNvSpPr>
          <p:nvPr>
            <p:ph type="body" sz="quarter" idx="18" hasCustomPrompt="1"/>
          </p:nvPr>
        </p:nvSpPr>
        <p:spPr>
          <a:xfrm>
            <a:off x="2288732" y="5219288"/>
            <a:ext cx="7614535" cy="605367"/>
          </a:xfrm>
        </p:spPr>
        <p:txBody>
          <a:bodyPr>
            <a:noAutofit/>
          </a:bodyPr>
          <a:lstStyle>
            <a:lvl1pPr marL="0" indent="0" algn="ctr">
              <a:lnSpc>
                <a:spcPct val="80000"/>
              </a:lnSpc>
              <a:buNone/>
              <a:defRPr sz="2800" b="1">
                <a:solidFill>
                  <a:schemeClr val="accent1"/>
                </a:solidFill>
              </a:defRPr>
            </a:lvl1pPr>
            <a:lvl2pPr marL="239177" indent="0">
              <a:buNone/>
              <a:defRPr/>
            </a:lvl2pPr>
            <a:lvl3pPr marL="474121" indent="0">
              <a:buNone/>
              <a:defRPr/>
            </a:lvl3pPr>
            <a:lvl4pPr marL="601118" indent="0">
              <a:buNone/>
              <a:defRPr/>
            </a:lvl4pPr>
            <a:lvl5pPr marL="719649" indent="0">
              <a:buNone/>
              <a:defRPr/>
            </a:lvl5pPr>
          </a:lstStyle>
          <a:p>
            <a:pPr lvl="0"/>
            <a:r>
              <a:rPr lang="fi-FI"/>
              <a:t>Muokkaa tekstiä</a:t>
            </a:r>
          </a:p>
        </p:txBody>
      </p:sp>
      <p:sp>
        <p:nvSpPr>
          <p:cNvPr id="2" name="Otsikko 1">
            <a:extLst>
              <a:ext uri="{FF2B5EF4-FFF2-40B4-BE49-F238E27FC236}">
                <a16:creationId xmlns:a16="http://schemas.microsoft.com/office/drawing/2014/main" id="{C9BAD7AB-354C-6E4D-B492-4D290DF3E628}"/>
              </a:ext>
            </a:extLst>
          </p:cNvPr>
          <p:cNvSpPr>
            <a:spLocks noGrp="1"/>
          </p:cNvSpPr>
          <p:nvPr>
            <p:ph type="title" hasCustomPrompt="1"/>
          </p:nvPr>
        </p:nvSpPr>
        <p:spPr>
          <a:xfrm>
            <a:off x="1303693" y="4485737"/>
            <a:ext cx="9584611" cy="712276"/>
          </a:xfrm>
        </p:spPr>
        <p:txBody>
          <a:bodyPr>
            <a:normAutofit/>
          </a:bodyPr>
          <a:lstStyle>
            <a:lvl1pPr algn="ctr">
              <a:defRPr sz="4400">
                <a:solidFill>
                  <a:schemeClr val="accent1"/>
                </a:solidFill>
              </a:defRPr>
            </a:lvl1pPr>
          </a:lstStyle>
          <a:p>
            <a:r>
              <a:rPr lang="fi-FI"/>
              <a:t>KUNNOSSAPITOPALVELUT</a:t>
            </a:r>
          </a:p>
        </p:txBody>
      </p:sp>
      <p:sp>
        <p:nvSpPr>
          <p:cNvPr id="5" name="Kuvan paikkamerkki 2">
            <a:extLst>
              <a:ext uri="{FF2B5EF4-FFF2-40B4-BE49-F238E27FC236}">
                <a16:creationId xmlns:a16="http://schemas.microsoft.com/office/drawing/2014/main" id="{8B95AD28-397A-5746-AA4D-2DE1F403BA1B}"/>
              </a:ext>
            </a:extLst>
          </p:cNvPr>
          <p:cNvSpPr>
            <a:spLocks noGrp="1"/>
          </p:cNvSpPr>
          <p:nvPr>
            <p:ph type="pic" sz="quarter" idx="20"/>
          </p:nvPr>
        </p:nvSpPr>
        <p:spPr>
          <a:xfrm>
            <a:off x="0" y="1"/>
            <a:ext cx="12192000" cy="3987208"/>
          </a:xfrm>
        </p:spPr>
        <p:txBody>
          <a:bodyPr/>
          <a:lstStyle/>
          <a:p>
            <a:r>
              <a:rPr lang="fi-FI"/>
              <a:t>Lisää kuva napsauttamalla kuvaketta</a:t>
            </a:r>
          </a:p>
        </p:txBody>
      </p:sp>
      <p:pic>
        <p:nvPicPr>
          <p:cNvPr id="6" name="Kuva 5" descr="Kuva, joka sisältää kohteen teksti, kello&#10;&#10;Kuvaus luotu automaattisesti">
            <a:extLst>
              <a:ext uri="{FF2B5EF4-FFF2-40B4-BE49-F238E27FC236}">
                <a16:creationId xmlns:a16="http://schemas.microsoft.com/office/drawing/2014/main" id="{D4CAE39C-13D1-4B55-ACB8-1517FFD948E6}"/>
              </a:ext>
            </a:extLst>
          </p:cNvPr>
          <p:cNvPicPr>
            <a:picLocks noChangeAspect="1"/>
          </p:cNvPicPr>
          <p:nvPr userDrawn="1"/>
        </p:nvPicPr>
        <p:blipFill>
          <a:blip r:embed="rId2"/>
          <a:stretch>
            <a:fillRect/>
          </a:stretch>
        </p:blipFill>
        <p:spPr>
          <a:xfrm>
            <a:off x="10089751" y="6139935"/>
            <a:ext cx="1782003" cy="457339"/>
          </a:xfrm>
          <a:prstGeom prst="rect">
            <a:avLst/>
          </a:prstGeom>
        </p:spPr>
      </p:pic>
    </p:spTree>
    <p:extLst>
      <p:ext uri="{BB962C8B-B14F-4D97-AF65-F5344CB8AC3E}">
        <p14:creationId xmlns:p14="http://schemas.microsoft.com/office/powerpoint/2010/main" val="4009235495"/>
      </p:ext>
    </p:extLst>
  </p:cSld>
  <p:clrMapOvr>
    <a:masterClrMapping/>
  </p:clrMapOvr>
  <p:transition spd="slow"/>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Ratapalvelut">
    <p:spTree>
      <p:nvGrpSpPr>
        <p:cNvPr id="1" name=""/>
        <p:cNvGrpSpPr/>
        <p:nvPr/>
      </p:nvGrpSpPr>
      <p:grpSpPr>
        <a:xfrm>
          <a:off x="0" y="0"/>
          <a:ext cx="0" cy="0"/>
          <a:chOff x="0" y="0"/>
          <a:chExt cx="0" cy="0"/>
        </a:xfrm>
      </p:grpSpPr>
      <p:sp>
        <p:nvSpPr>
          <p:cNvPr id="4" name="Tekstin paikkamerkki 3">
            <a:extLst>
              <a:ext uri="{FF2B5EF4-FFF2-40B4-BE49-F238E27FC236}">
                <a16:creationId xmlns:a16="http://schemas.microsoft.com/office/drawing/2014/main" id="{83083B8E-C8F3-8F40-8BBA-AECA9893B062}"/>
              </a:ext>
            </a:extLst>
          </p:cNvPr>
          <p:cNvSpPr>
            <a:spLocks noGrp="1"/>
          </p:cNvSpPr>
          <p:nvPr>
            <p:ph type="body" sz="quarter" idx="18" hasCustomPrompt="1"/>
          </p:nvPr>
        </p:nvSpPr>
        <p:spPr>
          <a:xfrm>
            <a:off x="2288732" y="5219288"/>
            <a:ext cx="7614535" cy="605367"/>
          </a:xfrm>
        </p:spPr>
        <p:txBody>
          <a:bodyPr>
            <a:noAutofit/>
          </a:bodyPr>
          <a:lstStyle>
            <a:lvl1pPr marL="0" indent="0" algn="ctr">
              <a:lnSpc>
                <a:spcPct val="80000"/>
              </a:lnSpc>
              <a:buNone/>
              <a:defRPr sz="2800" b="1">
                <a:solidFill>
                  <a:schemeClr val="accent1"/>
                </a:solidFill>
              </a:defRPr>
            </a:lvl1pPr>
            <a:lvl2pPr marL="239177" indent="0">
              <a:buNone/>
              <a:defRPr/>
            </a:lvl2pPr>
            <a:lvl3pPr marL="474121" indent="0">
              <a:buNone/>
              <a:defRPr/>
            </a:lvl3pPr>
            <a:lvl4pPr marL="601118" indent="0">
              <a:buNone/>
              <a:defRPr/>
            </a:lvl4pPr>
            <a:lvl5pPr marL="719649" indent="0">
              <a:buNone/>
              <a:defRPr/>
            </a:lvl5pPr>
          </a:lstStyle>
          <a:p>
            <a:pPr lvl="0"/>
            <a:r>
              <a:rPr lang="fi-FI"/>
              <a:t>Muokkaa tekstiä</a:t>
            </a:r>
          </a:p>
        </p:txBody>
      </p:sp>
      <p:sp>
        <p:nvSpPr>
          <p:cNvPr id="2" name="Otsikko 1">
            <a:extLst>
              <a:ext uri="{FF2B5EF4-FFF2-40B4-BE49-F238E27FC236}">
                <a16:creationId xmlns:a16="http://schemas.microsoft.com/office/drawing/2014/main" id="{C9BAD7AB-354C-6E4D-B492-4D290DF3E628}"/>
              </a:ext>
            </a:extLst>
          </p:cNvPr>
          <p:cNvSpPr>
            <a:spLocks noGrp="1"/>
          </p:cNvSpPr>
          <p:nvPr>
            <p:ph type="title" hasCustomPrompt="1"/>
          </p:nvPr>
        </p:nvSpPr>
        <p:spPr>
          <a:xfrm>
            <a:off x="1303693" y="4485737"/>
            <a:ext cx="9584611" cy="712276"/>
          </a:xfrm>
        </p:spPr>
        <p:txBody>
          <a:bodyPr>
            <a:normAutofit/>
          </a:bodyPr>
          <a:lstStyle>
            <a:lvl1pPr algn="ctr">
              <a:defRPr sz="4400">
                <a:solidFill>
                  <a:schemeClr val="accent1"/>
                </a:solidFill>
              </a:defRPr>
            </a:lvl1pPr>
          </a:lstStyle>
          <a:p>
            <a:r>
              <a:rPr lang="fi-FI"/>
              <a:t>RATAPALVELUT</a:t>
            </a:r>
          </a:p>
        </p:txBody>
      </p:sp>
      <p:sp>
        <p:nvSpPr>
          <p:cNvPr id="5" name="Kuvan paikkamerkki 2">
            <a:extLst>
              <a:ext uri="{FF2B5EF4-FFF2-40B4-BE49-F238E27FC236}">
                <a16:creationId xmlns:a16="http://schemas.microsoft.com/office/drawing/2014/main" id="{8B95AD28-397A-5746-AA4D-2DE1F403BA1B}"/>
              </a:ext>
            </a:extLst>
          </p:cNvPr>
          <p:cNvSpPr>
            <a:spLocks noGrp="1"/>
          </p:cNvSpPr>
          <p:nvPr>
            <p:ph type="pic" sz="quarter" idx="20"/>
          </p:nvPr>
        </p:nvSpPr>
        <p:spPr>
          <a:xfrm>
            <a:off x="0" y="1"/>
            <a:ext cx="12192000" cy="3987208"/>
          </a:xfrm>
        </p:spPr>
        <p:txBody>
          <a:bodyPr/>
          <a:lstStyle/>
          <a:p>
            <a:r>
              <a:rPr lang="fi-FI"/>
              <a:t>Lisää kuva napsauttamalla kuvaketta</a:t>
            </a:r>
          </a:p>
        </p:txBody>
      </p:sp>
      <p:pic>
        <p:nvPicPr>
          <p:cNvPr id="6" name="Kuva 5" descr="Kuva, joka sisältää kohteen teksti, kello&#10;&#10;Kuvaus luotu automaattisesti">
            <a:extLst>
              <a:ext uri="{FF2B5EF4-FFF2-40B4-BE49-F238E27FC236}">
                <a16:creationId xmlns:a16="http://schemas.microsoft.com/office/drawing/2014/main" id="{A735744C-06E7-468D-A9C5-8076F1ECE900}"/>
              </a:ext>
            </a:extLst>
          </p:cNvPr>
          <p:cNvPicPr>
            <a:picLocks noChangeAspect="1"/>
          </p:cNvPicPr>
          <p:nvPr userDrawn="1"/>
        </p:nvPicPr>
        <p:blipFill>
          <a:blip r:embed="rId2"/>
          <a:stretch>
            <a:fillRect/>
          </a:stretch>
        </p:blipFill>
        <p:spPr>
          <a:xfrm>
            <a:off x="10089751" y="6139935"/>
            <a:ext cx="1782003" cy="457339"/>
          </a:xfrm>
          <a:prstGeom prst="rect">
            <a:avLst/>
          </a:prstGeom>
        </p:spPr>
      </p:pic>
    </p:spTree>
    <p:extLst>
      <p:ext uri="{BB962C8B-B14F-4D97-AF65-F5344CB8AC3E}">
        <p14:creationId xmlns:p14="http://schemas.microsoft.com/office/powerpoint/2010/main" val="2992091884"/>
      </p:ext>
    </p:extLst>
  </p:cSld>
  <p:clrMapOvr>
    <a:masterClrMapping/>
  </p:clrMapOvr>
  <p:transition spd="slow"/>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Maa- ja kalliopalvelut">
    <p:spTree>
      <p:nvGrpSpPr>
        <p:cNvPr id="1" name=""/>
        <p:cNvGrpSpPr/>
        <p:nvPr/>
      </p:nvGrpSpPr>
      <p:grpSpPr>
        <a:xfrm>
          <a:off x="0" y="0"/>
          <a:ext cx="0" cy="0"/>
          <a:chOff x="0" y="0"/>
          <a:chExt cx="0" cy="0"/>
        </a:xfrm>
      </p:grpSpPr>
      <p:sp>
        <p:nvSpPr>
          <p:cNvPr id="4" name="Tekstin paikkamerkki 3">
            <a:extLst>
              <a:ext uri="{FF2B5EF4-FFF2-40B4-BE49-F238E27FC236}">
                <a16:creationId xmlns:a16="http://schemas.microsoft.com/office/drawing/2014/main" id="{83083B8E-C8F3-8F40-8BBA-AECA9893B062}"/>
              </a:ext>
            </a:extLst>
          </p:cNvPr>
          <p:cNvSpPr>
            <a:spLocks noGrp="1"/>
          </p:cNvSpPr>
          <p:nvPr>
            <p:ph type="body" sz="quarter" idx="18" hasCustomPrompt="1"/>
          </p:nvPr>
        </p:nvSpPr>
        <p:spPr>
          <a:xfrm>
            <a:off x="2288732" y="5219288"/>
            <a:ext cx="7614535" cy="605367"/>
          </a:xfrm>
        </p:spPr>
        <p:txBody>
          <a:bodyPr>
            <a:noAutofit/>
          </a:bodyPr>
          <a:lstStyle>
            <a:lvl1pPr marL="0" indent="0" algn="ctr">
              <a:lnSpc>
                <a:spcPct val="80000"/>
              </a:lnSpc>
              <a:buNone/>
              <a:defRPr sz="2800" b="1">
                <a:solidFill>
                  <a:schemeClr val="accent1"/>
                </a:solidFill>
              </a:defRPr>
            </a:lvl1pPr>
            <a:lvl2pPr marL="239177" indent="0">
              <a:buNone/>
              <a:defRPr/>
            </a:lvl2pPr>
            <a:lvl3pPr marL="474121" indent="0">
              <a:buNone/>
              <a:defRPr/>
            </a:lvl3pPr>
            <a:lvl4pPr marL="601118" indent="0">
              <a:buNone/>
              <a:defRPr/>
            </a:lvl4pPr>
            <a:lvl5pPr marL="719649" indent="0">
              <a:buNone/>
              <a:defRPr/>
            </a:lvl5pPr>
          </a:lstStyle>
          <a:p>
            <a:pPr lvl="0"/>
            <a:r>
              <a:rPr lang="fi-FI"/>
              <a:t>Muokkaa tekstiä</a:t>
            </a:r>
          </a:p>
        </p:txBody>
      </p:sp>
      <p:sp>
        <p:nvSpPr>
          <p:cNvPr id="2" name="Otsikko 1">
            <a:extLst>
              <a:ext uri="{FF2B5EF4-FFF2-40B4-BE49-F238E27FC236}">
                <a16:creationId xmlns:a16="http://schemas.microsoft.com/office/drawing/2014/main" id="{C9BAD7AB-354C-6E4D-B492-4D290DF3E628}"/>
              </a:ext>
            </a:extLst>
          </p:cNvPr>
          <p:cNvSpPr>
            <a:spLocks noGrp="1"/>
          </p:cNvSpPr>
          <p:nvPr>
            <p:ph type="title" hasCustomPrompt="1"/>
          </p:nvPr>
        </p:nvSpPr>
        <p:spPr>
          <a:xfrm>
            <a:off x="1303693" y="4485737"/>
            <a:ext cx="9584611" cy="712276"/>
          </a:xfrm>
        </p:spPr>
        <p:txBody>
          <a:bodyPr>
            <a:normAutofit/>
          </a:bodyPr>
          <a:lstStyle>
            <a:lvl1pPr algn="ctr">
              <a:defRPr sz="4400">
                <a:solidFill>
                  <a:schemeClr val="accent1"/>
                </a:solidFill>
              </a:defRPr>
            </a:lvl1pPr>
          </a:lstStyle>
          <a:p>
            <a:r>
              <a:rPr lang="fi-FI"/>
              <a:t>MAA- JA KALLIOPALVELUT</a:t>
            </a:r>
          </a:p>
        </p:txBody>
      </p:sp>
      <p:sp>
        <p:nvSpPr>
          <p:cNvPr id="5" name="Kuvan paikkamerkki 2">
            <a:extLst>
              <a:ext uri="{FF2B5EF4-FFF2-40B4-BE49-F238E27FC236}">
                <a16:creationId xmlns:a16="http://schemas.microsoft.com/office/drawing/2014/main" id="{8B95AD28-397A-5746-AA4D-2DE1F403BA1B}"/>
              </a:ext>
            </a:extLst>
          </p:cNvPr>
          <p:cNvSpPr>
            <a:spLocks noGrp="1"/>
          </p:cNvSpPr>
          <p:nvPr>
            <p:ph type="pic" sz="quarter" idx="20"/>
          </p:nvPr>
        </p:nvSpPr>
        <p:spPr>
          <a:xfrm>
            <a:off x="0" y="1"/>
            <a:ext cx="12192000" cy="3987208"/>
          </a:xfrm>
        </p:spPr>
        <p:txBody>
          <a:bodyPr/>
          <a:lstStyle/>
          <a:p>
            <a:r>
              <a:rPr lang="fi-FI"/>
              <a:t>Lisää kuva napsauttamalla kuvaketta</a:t>
            </a:r>
          </a:p>
        </p:txBody>
      </p:sp>
      <p:pic>
        <p:nvPicPr>
          <p:cNvPr id="6" name="Kuva 5" descr="Kuva, joka sisältää kohteen teksti, kello&#10;&#10;Kuvaus luotu automaattisesti">
            <a:extLst>
              <a:ext uri="{FF2B5EF4-FFF2-40B4-BE49-F238E27FC236}">
                <a16:creationId xmlns:a16="http://schemas.microsoft.com/office/drawing/2014/main" id="{7C93CFBD-1A71-44B1-92C3-1556A2119426}"/>
              </a:ext>
            </a:extLst>
          </p:cNvPr>
          <p:cNvPicPr>
            <a:picLocks noChangeAspect="1"/>
          </p:cNvPicPr>
          <p:nvPr userDrawn="1"/>
        </p:nvPicPr>
        <p:blipFill>
          <a:blip r:embed="rId2"/>
          <a:stretch>
            <a:fillRect/>
          </a:stretch>
        </p:blipFill>
        <p:spPr>
          <a:xfrm>
            <a:off x="10089751" y="6139935"/>
            <a:ext cx="1782003" cy="457339"/>
          </a:xfrm>
          <a:prstGeom prst="rect">
            <a:avLst/>
          </a:prstGeom>
        </p:spPr>
      </p:pic>
    </p:spTree>
    <p:extLst>
      <p:ext uri="{BB962C8B-B14F-4D97-AF65-F5344CB8AC3E}">
        <p14:creationId xmlns:p14="http://schemas.microsoft.com/office/powerpoint/2010/main" val="1295891385"/>
      </p:ext>
    </p:extLst>
  </p:cSld>
  <p:clrMapOvr>
    <a:masterClrMapping/>
  </p:clrMapOvr>
  <p:transition spd="slow"/>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Rakennustekniset palvelut">
    <p:spTree>
      <p:nvGrpSpPr>
        <p:cNvPr id="1" name=""/>
        <p:cNvGrpSpPr/>
        <p:nvPr/>
      </p:nvGrpSpPr>
      <p:grpSpPr>
        <a:xfrm>
          <a:off x="0" y="0"/>
          <a:ext cx="0" cy="0"/>
          <a:chOff x="0" y="0"/>
          <a:chExt cx="0" cy="0"/>
        </a:xfrm>
      </p:grpSpPr>
      <p:sp>
        <p:nvSpPr>
          <p:cNvPr id="4" name="Tekstin paikkamerkki 3">
            <a:extLst>
              <a:ext uri="{FF2B5EF4-FFF2-40B4-BE49-F238E27FC236}">
                <a16:creationId xmlns:a16="http://schemas.microsoft.com/office/drawing/2014/main" id="{83083B8E-C8F3-8F40-8BBA-AECA9893B062}"/>
              </a:ext>
            </a:extLst>
          </p:cNvPr>
          <p:cNvSpPr>
            <a:spLocks noGrp="1"/>
          </p:cNvSpPr>
          <p:nvPr>
            <p:ph type="body" sz="quarter" idx="18" hasCustomPrompt="1"/>
          </p:nvPr>
        </p:nvSpPr>
        <p:spPr>
          <a:xfrm>
            <a:off x="2288732" y="5219288"/>
            <a:ext cx="7614535" cy="605367"/>
          </a:xfrm>
        </p:spPr>
        <p:txBody>
          <a:bodyPr>
            <a:noAutofit/>
          </a:bodyPr>
          <a:lstStyle>
            <a:lvl1pPr marL="0" indent="0" algn="ctr">
              <a:lnSpc>
                <a:spcPct val="80000"/>
              </a:lnSpc>
              <a:buNone/>
              <a:defRPr sz="2800" b="1">
                <a:solidFill>
                  <a:schemeClr val="accent1"/>
                </a:solidFill>
              </a:defRPr>
            </a:lvl1pPr>
            <a:lvl2pPr marL="239177" indent="0">
              <a:buNone/>
              <a:defRPr/>
            </a:lvl2pPr>
            <a:lvl3pPr marL="474121" indent="0">
              <a:buNone/>
              <a:defRPr/>
            </a:lvl3pPr>
            <a:lvl4pPr marL="601118" indent="0">
              <a:buNone/>
              <a:defRPr/>
            </a:lvl4pPr>
            <a:lvl5pPr marL="719649" indent="0">
              <a:buNone/>
              <a:defRPr/>
            </a:lvl5pPr>
          </a:lstStyle>
          <a:p>
            <a:pPr lvl="0"/>
            <a:r>
              <a:rPr lang="fi-FI"/>
              <a:t>Muokkaa tekstiä</a:t>
            </a:r>
          </a:p>
        </p:txBody>
      </p:sp>
      <p:sp>
        <p:nvSpPr>
          <p:cNvPr id="2" name="Otsikko 1">
            <a:extLst>
              <a:ext uri="{FF2B5EF4-FFF2-40B4-BE49-F238E27FC236}">
                <a16:creationId xmlns:a16="http://schemas.microsoft.com/office/drawing/2014/main" id="{C9BAD7AB-354C-6E4D-B492-4D290DF3E628}"/>
              </a:ext>
            </a:extLst>
          </p:cNvPr>
          <p:cNvSpPr>
            <a:spLocks noGrp="1"/>
          </p:cNvSpPr>
          <p:nvPr>
            <p:ph type="title" hasCustomPrompt="1"/>
          </p:nvPr>
        </p:nvSpPr>
        <p:spPr>
          <a:xfrm>
            <a:off x="1303693" y="4485737"/>
            <a:ext cx="9584611" cy="712276"/>
          </a:xfrm>
        </p:spPr>
        <p:txBody>
          <a:bodyPr>
            <a:normAutofit/>
          </a:bodyPr>
          <a:lstStyle>
            <a:lvl1pPr algn="ctr">
              <a:defRPr sz="4400">
                <a:solidFill>
                  <a:schemeClr val="accent1"/>
                </a:solidFill>
              </a:defRPr>
            </a:lvl1pPr>
          </a:lstStyle>
          <a:p>
            <a:r>
              <a:rPr lang="fi-FI"/>
              <a:t>RAKENNUSTEKNISET PALVELUT</a:t>
            </a:r>
          </a:p>
        </p:txBody>
      </p:sp>
      <p:sp>
        <p:nvSpPr>
          <p:cNvPr id="5" name="Kuvan paikkamerkki 2">
            <a:extLst>
              <a:ext uri="{FF2B5EF4-FFF2-40B4-BE49-F238E27FC236}">
                <a16:creationId xmlns:a16="http://schemas.microsoft.com/office/drawing/2014/main" id="{8B95AD28-397A-5746-AA4D-2DE1F403BA1B}"/>
              </a:ext>
            </a:extLst>
          </p:cNvPr>
          <p:cNvSpPr>
            <a:spLocks noGrp="1"/>
          </p:cNvSpPr>
          <p:nvPr>
            <p:ph type="pic" sz="quarter" idx="20"/>
          </p:nvPr>
        </p:nvSpPr>
        <p:spPr>
          <a:xfrm>
            <a:off x="0" y="1"/>
            <a:ext cx="12192000" cy="3987208"/>
          </a:xfrm>
        </p:spPr>
        <p:txBody>
          <a:bodyPr/>
          <a:lstStyle/>
          <a:p>
            <a:r>
              <a:rPr lang="fi-FI"/>
              <a:t>Lisää kuva napsauttamalla kuvaketta</a:t>
            </a:r>
          </a:p>
        </p:txBody>
      </p:sp>
      <p:pic>
        <p:nvPicPr>
          <p:cNvPr id="6" name="Kuva 5" descr="Kuva, joka sisältää kohteen teksti, kello&#10;&#10;Kuvaus luotu automaattisesti">
            <a:extLst>
              <a:ext uri="{FF2B5EF4-FFF2-40B4-BE49-F238E27FC236}">
                <a16:creationId xmlns:a16="http://schemas.microsoft.com/office/drawing/2014/main" id="{2FE46983-2A4C-43AD-BC53-0DF7EA69004D}"/>
              </a:ext>
            </a:extLst>
          </p:cNvPr>
          <p:cNvPicPr>
            <a:picLocks noChangeAspect="1"/>
          </p:cNvPicPr>
          <p:nvPr userDrawn="1"/>
        </p:nvPicPr>
        <p:blipFill>
          <a:blip r:embed="rId2"/>
          <a:stretch>
            <a:fillRect/>
          </a:stretch>
        </p:blipFill>
        <p:spPr>
          <a:xfrm>
            <a:off x="10089751" y="6139935"/>
            <a:ext cx="1782003" cy="457339"/>
          </a:xfrm>
          <a:prstGeom prst="rect">
            <a:avLst/>
          </a:prstGeom>
        </p:spPr>
      </p:pic>
    </p:spTree>
    <p:extLst>
      <p:ext uri="{BB962C8B-B14F-4D97-AF65-F5344CB8AC3E}">
        <p14:creationId xmlns:p14="http://schemas.microsoft.com/office/powerpoint/2010/main" val="2436808024"/>
      </p:ext>
    </p:extLst>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ubrik och två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en-GB"/>
          </a:p>
        </p:txBody>
      </p:sp>
      <p:sp>
        <p:nvSpPr>
          <p:cNvPr id="3" name="Platshållare för innehåll 2"/>
          <p:cNvSpPr>
            <a:spLocks noGrp="1"/>
          </p:cNvSpPr>
          <p:nvPr>
            <p:ph idx="1"/>
          </p:nvPr>
        </p:nvSpPr>
        <p:spPr>
          <a:xfrm>
            <a:off x="803275" y="2059818"/>
            <a:ext cx="5226757" cy="432193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p:cNvSpPr>
            <a:spLocks noGrp="1"/>
          </p:cNvSpPr>
          <p:nvPr>
            <p:ph type="dt" sz="half" idx="10"/>
          </p:nvPr>
        </p:nvSpPr>
        <p:spPr/>
        <p:txBody>
          <a:bodyPr/>
          <a:lstStyle/>
          <a:p>
            <a:fld id="{AF64EBDA-8880-4E4E-90F1-3CBF2CED0CD2}" type="datetime1">
              <a:rPr lang="sv-SE" smtClean="0"/>
              <a:t>2022-04-29</a:t>
            </a:fld>
            <a:endParaRPr lang="en-GB"/>
          </a:p>
        </p:txBody>
      </p:sp>
      <p:sp>
        <p:nvSpPr>
          <p:cNvPr id="5" name="Platshållare för sidfot 4"/>
          <p:cNvSpPr>
            <a:spLocks noGrp="1"/>
          </p:cNvSpPr>
          <p:nvPr>
            <p:ph type="ftr" sz="quarter" idx="11"/>
          </p:nvPr>
        </p:nvSpPr>
        <p:spPr/>
        <p:txBody>
          <a:body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12"/>
          </p:nvPr>
        </p:nvSpPr>
        <p:spPr/>
        <p:txBody>
          <a:bodyPr/>
          <a:lstStyle/>
          <a:p>
            <a:fld id="{A3EAEDCA-98D4-4724-9772-C653855CA076}" type="slidenum">
              <a:rPr lang="en-GB" smtClean="0"/>
              <a:t>‹#›</a:t>
            </a:fld>
            <a:endParaRPr lang="en-GB"/>
          </a:p>
        </p:txBody>
      </p:sp>
      <p:sp>
        <p:nvSpPr>
          <p:cNvPr id="9" name="Platshållare för innehåll 8"/>
          <p:cNvSpPr>
            <a:spLocks noGrp="1"/>
          </p:cNvSpPr>
          <p:nvPr>
            <p:ph sz="quarter" idx="13"/>
          </p:nvPr>
        </p:nvSpPr>
        <p:spPr>
          <a:xfrm>
            <a:off x="6144684" y="2060575"/>
            <a:ext cx="5783292" cy="43211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7171823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aupunkikehitys ja asiantuntijapalvelut">
    <p:spTree>
      <p:nvGrpSpPr>
        <p:cNvPr id="1" name=""/>
        <p:cNvGrpSpPr/>
        <p:nvPr/>
      </p:nvGrpSpPr>
      <p:grpSpPr>
        <a:xfrm>
          <a:off x="0" y="0"/>
          <a:ext cx="0" cy="0"/>
          <a:chOff x="0" y="0"/>
          <a:chExt cx="0" cy="0"/>
        </a:xfrm>
      </p:grpSpPr>
      <p:sp>
        <p:nvSpPr>
          <p:cNvPr id="4" name="Tekstin paikkamerkki 3">
            <a:extLst>
              <a:ext uri="{FF2B5EF4-FFF2-40B4-BE49-F238E27FC236}">
                <a16:creationId xmlns:a16="http://schemas.microsoft.com/office/drawing/2014/main" id="{83083B8E-C8F3-8F40-8BBA-AECA9893B062}"/>
              </a:ext>
            </a:extLst>
          </p:cNvPr>
          <p:cNvSpPr>
            <a:spLocks noGrp="1"/>
          </p:cNvSpPr>
          <p:nvPr>
            <p:ph type="body" sz="quarter" idx="18" hasCustomPrompt="1"/>
          </p:nvPr>
        </p:nvSpPr>
        <p:spPr>
          <a:xfrm>
            <a:off x="2444145" y="5645147"/>
            <a:ext cx="7303706" cy="498526"/>
          </a:xfrm>
        </p:spPr>
        <p:txBody>
          <a:bodyPr>
            <a:noAutofit/>
          </a:bodyPr>
          <a:lstStyle>
            <a:lvl1pPr marL="0" indent="0" algn="ctr">
              <a:lnSpc>
                <a:spcPct val="80000"/>
              </a:lnSpc>
              <a:buNone/>
              <a:defRPr sz="2800" b="1">
                <a:solidFill>
                  <a:schemeClr val="accent1"/>
                </a:solidFill>
              </a:defRPr>
            </a:lvl1pPr>
            <a:lvl2pPr marL="239177" indent="0">
              <a:buNone/>
              <a:defRPr/>
            </a:lvl2pPr>
            <a:lvl3pPr marL="474121" indent="0">
              <a:buNone/>
              <a:defRPr/>
            </a:lvl3pPr>
            <a:lvl4pPr marL="601118" indent="0">
              <a:buNone/>
              <a:defRPr/>
            </a:lvl4pPr>
            <a:lvl5pPr marL="719649" indent="0">
              <a:buNone/>
              <a:defRPr/>
            </a:lvl5pPr>
          </a:lstStyle>
          <a:p>
            <a:pPr lvl="0"/>
            <a:r>
              <a:rPr lang="fi-FI"/>
              <a:t>Muokkaa tekstiä</a:t>
            </a:r>
          </a:p>
        </p:txBody>
      </p:sp>
      <p:sp>
        <p:nvSpPr>
          <p:cNvPr id="2" name="Otsikko 1">
            <a:extLst>
              <a:ext uri="{FF2B5EF4-FFF2-40B4-BE49-F238E27FC236}">
                <a16:creationId xmlns:a16="http://schemas.microsoft.com/office/drawing/2014/main" id="{C9BAD7AB-354C-6E4D-B492-4D290DF3E628}"/>
              </a:ext>
            </a:extLst>
          </p:cNvPr>
          <p:cNvSpPr>
            <a:spLocks noGrp="1"/>
          </p:cNvSpPr>
          <p:nvPr>
            <p:ph type="title" hasCustomPrompt="1"/>
          </p:nvPr>
        </p:nvSpPr>
        <p:spPr>
          <a:xfrm>
            <a:off x="1303693" y="4485736"/>
            <a:ext cx="9584611" cy="1159411"/>
          </a:xfrm>
        </p:spPr>
        <p:txBody>
          <a:bodyPr>
            <a:normAutofit/>
          </a:bodyPr>
          <a:lstStyle>
            <a:lvl1pPr algn="ctr">
              <a:defRPr sz="4400">
                <a:solidFill>
                  <a:schemeClr val="accent1"/>
                </a:solidFill>
              </a:defRPr>
            </a:lvl1pPr>
          </a:lstStyle>
          <a:p>
            <a:r>
              <a:rPr lang="fi-FI"/>
              <a:t>KAUPUNKIKEHITYS JA ASIANTUNTIJAPALVELUT</a:t>
            </a:r>
          </a:p>
        </p:txBody>
      </p:sp>
      <p:sp>
        <p:nvSpPr>
          <p:cNvPr id="5" name="Kuvan paikkamerkki 2">
            <a:extLst>
              <a:ext uri="{FF2B5EF4-FFF2-40B4-BE49-F238E27FC236}">
                <a16:creationId xmlns:a16="http://schemas.microsoft.com/office/drawing/2014/main" id="{8B95AD28-397A-5746-AA4D-2DE1F403BA1B}"/>
              </a:ext>
            </a:extLst>
          </p:cNvPr>
          <p:cNvSpPr>
            <a:spLocks noGrp="1"/>
          </p:cNvSpPr>
          <p:nvPr>
            <p:ph type="pic" sz="quarter" idx="20"/>
          </p:nvPr>
        </p:nvSpPr>
        <p:spPr>
          <a:xfrm>
            <a:off x="0" y="1"/>
            <a:ext cx="12192000" cy="3987208"/>
          </a:xfrm>
        </p:spPr>
        <p:txBody>
          <a:bodyPr/>
          <a:lstStyle/>
          <a:p>
            <a:r>
              <a:rPr lang="fi-FI"/>
              <a:t>Lisää kuva napsauttamalla kuvaketta</a:t>
            </a:r>
          </a:p>
        </p:txBody>
      </p:sp>
      <p:pic>
        <p:nvPicPr>
          <p:cNvPr id="6" name="Kuva 5" descr="Kuva, joka sisältää kohteen teksti, kello&#10;&#10;Kuvaus luotu automaattisesti">
            <a:extLst>
              <a:ext uri="{FF2B5EF4-FFF2-40B4-BE49-F238E27FC236}">
                <a16:creationId xmlns:a16="http://schemas.microsoft.com/office/drawing/2014/main" id="{80B5CD2F-683C-4DAB-ABE7-38B5D7D8DCC4}"/>
              </a:ext>
            </a:extLst>
          </p:cNvPr>
          <p:cNvPicPr>
            <a:picLocks noChangeAspect="1"/>
          </p:cNvPicPr>
          <p:nvPr userDrawn="1"/>
        </p:nvPicPr>
        <p:blipFill>
          <a:blip r:embed="rId2"/>
          <a:stretch>
            <a:fillRect/>
          </a:stretch>
        </p:blipFill>
        <p:spPr>
          <a:xfrm>
            <a:off x="10089751" y="6139935"/>
            <a:ext cx="1782003" cy="457339"/>
          </a:xfrm>
          <a:prstGeom prst="rect">
            <a:avLst/>
          </a:prstGeom>
        </p:spPr>
      </p:pic>
    </p:spTree>
    <p:extLst>
      <p:ext uri="{BB962C8B-B14F-4D97-AF65-F5344CB8AC3E}">
        <p14:creationId xmlns:p14="http://schemas.microsoft.com/office/powerpoint/2010/main" val="2013205561"/>
      </p:ext>
    </p:extLst>
  </p:cSld>
  <p:clrMapOvr>
    <a:masterClrMapping/>
  </p:clrMapOvr>
  <p:transition spd="slow"/>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Etusivu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B53A2A2-81F2-0649-84CC-941F42BDBD53}"/>
              </a:ext>
            </a:extLst>
          </p:cNvPr>
          <p:cNvSpPr/>
          <p:nvPr userDrawn="1"/>
        </p:nvSpPr>
        <p:spPr>
          <a:xfrm>
            <a:off x="0" y="3987208"/>
            <a:ext cx="12192000" cy="287079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err="1">
              <a:solidFill>
                <a:schemeClr val="bg1"/>
              </a:solidFill>
              <a:latin typeface="Open Sans" panose="020B0606030504020204" pitchFamily="34" charset="0"/>
              <a:ea typeface="Muli" charset="0"/>
              <a:cs typeface="Muli" charset="0"/>
            </a:endParaRPr>
          </a:p>
        </p:txBody>
      </p:sp>
      <p:sp>
        <p:nvSpPr>
          <p:cNvPr id="3" name="Kuvan paikkamerkki 2">
            <a:extLst>
              <a:ext uri="{FF2B5EF4-FFF2-40B4-BE49-F238E27FC236}">
                <a16:creationId xmlns:a16="http://schemas.microsoft.com/office/drawing/2014/main" id="{B5EF8E16-E56D-3F4E-B595-D4C171F0C62A}"/>
              </a:ext>
            </a:extLst>
          </p:cNvPr>
          <p:cNvSpPr>
            <a:spLocks noGrp="1"/>
          </p:cNvSpPr>
          <p:nvPr>
            <p:ph type="pic" sz="quarter" idx="20"/>
          </p:nvPr>
        </p:nvSpPr>
        <p:spPr>
          <a:xfrm>
            <a:off x="0" y="1"/>
            <a:ext cx="12192000" cy="3987208"/>
          </a:xfrm>
        </p:spPr>
        <p:txBody>
          <a:bodyPr/>
          <a:lstStyle/>
          <a:p>
            <a:r>
              <a:rPr lang="fi-FI"/>
              <a:t>Lisää kuva napsauttamalla kuvaketta</a:t>
            </a:r>
          </a:p>
        </p:txBody>
      </p:sp>
      <p:sp>
        <p:nvSpPr>
          <p:cNvPr id="4" name="Otsikko 3">
            <a:extLst>
              <a:ext uri="{FF2B5EF4-FFF2-40B4-BE49-F238E27FC236}">
                <a16:creationId xmlns:a16="http://schemas.microsoft.com/office/drawing/2014/main" id="{D49A037E-3B07-844F-9D1E-B1AF7AFFD312}"/>
              </a:ext>
            </a:extLst>
          </p:cNvPr>
          <p:cNvSpPr>
            <a:spLocks noGrp="1"/>
          </p:cNvSpPr>
          <p:nvPr>
            <p:ph type="title" hasCustomPrompt="1"/>
          </p:nvPr>
        </p:nvSpPr>
        <p:spPr>
          <a:xfrm>
            <a:off x="1869333" y="4514584"/>
            <a:ext cx="8453334" cy="1280288"/>
          </a:xfrm>
        </p:spPr>
        <p:txBody>
          <a:bodyPr>
            <a:noAutofit/>
          </a:bodyPr>
          <a:lstStyle>
            <a:lvl1pPr algn="ctr">
              <a:defRPr sz="5000">
                <a:solidFill>
                  <a:schemeClr val="bg1"/>
                </a:solidFill>
              </a:defRPr>
            </a:lvl1pPr>
          </a:lstStyle>
          <a:p>
            <a:r>
              <a:rPr lang="fi-FI"/>
              <a:t>MUOKKAA TEKSTIÄ</a:t>
            </a:r>
          </a:p>
        </p:txBody>
      </p:sp>
      <p:pic>
        <p:nvPicPr>
          <p:cNvPr id="6" name="Kuva 5" descr="Kuva, joka sisältää kohteen teksti, clipart-kuva&#10;&#10;Kuvaus luotu automaattisesti">
            <a:extLst>
              <a:ext uri="{FF2B5EF4-FFF2-40B4-BE49-F238E27FC236}">
                <a16:creationId xmlns:a16="http://schemas.microsoft.com/office/drawing/2014/main" id="{C8158206-DB3D-4A42-9708-A8984DCE2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90028" y="6140529"/>
            <a:ext cx="1782003" cy="457340"/>
          </a:xfrm>
          <a:prstGeom prst="rect">
            <a:avLst/>
          </a:prstGeom>
        </p:spPr>
      </p:pic>
    </p:spTree>
    <p:extLst>
      <p:ext uri="{BB962C8B-B14F-4D97-AF65-F5344CB8AC3E}">
        <p14:creationId xmlns:p14="http://schemas.microsoft.com/office/powerpoint/2010/main" val="2709060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Etusivu 4">
    <p:bg>
      <p:bgPr>
        <a:solidFill>
          <a:schemeClr val="bg1"/>
        </a:solidFill>
        <a:effectLst/>
      </p:bgPr>
    </p:bg>
    <p:spTree>
      <p:nvGrpSpPr>
        <p:cNvPr id="1" name=""/>
        <p:cNvGrpSpPr/>
        <p:nvPr/>
      </p:nvGrpSpPr>
      <p:grpSpPr>
        <a:xfrm>
          <a:off x="0" y="0"/>
          <a:ext cx="0" cy="0"/>
          <a:chOff x="0" y="0"/>
          <a:chExt cx="0" cy="0"/>
        </a:xfrm>
      </p:grpSpPr>
      <p:sp>
        <p:nvSpPr>
          <p:cNvPr id="6" name="Tekstin paikkamerkki 3">
            <a:extLst>
              <a:ext uri="{FF2B5EF4-FFF2-40B4-BE49-F238E27FC236}">
                <a16:creationId xmlns:a16="http://schemas.microsoft.com/office/drawing/2014/main" id="{F6CB60E1-BF22-8343-A151-D3C8489D1D66}"/>
              </a:ext>
            </a:extLst>
          </p:cNvPr>
          <p:cNvSpPr>
            <a:spLocks noGrp="1"/>
          </p:cNvSpPr>
          <p:nvPr>
            <p:ph type="body" sz="quarter" idx="19" hasCustomPrompt="1"/>
          </p:nvPr>
        </p:nvSpPr>
        <p:spPr>
          <a:xfrm>
            <a:off x="6270949" y="3502643"/>
            <a:ext cx="5570983" cy="605367"/>
          </a:xfrm>
        </p:spPr>
        <p:txBody>
          <a:bodyPr>
            <a:normAutofit/>
          </a:bodyPr>
          <a:lstStyle>
            <a:lvl1pPr marL="0" indent="0" algn="l">
              <a:lnSpc>
                <a:spcPct val="80000"/>
              </a:lnSpc>
              <a:buNone/>
              <a:defRPr sz="3200" b="1">
                <a:solidFill>
                  <a:schemeClr val="accent1"/>
                </a:solidFill>
              </a:defRPr>
            </a:lvl1pPr>
            <a:lvl2pPr marL="239177" indent="0">
              <a:buNone/>
              <a:defRPr/>
            </a:lvl2pPr>
            <a:lvl3pPr marL="474121" indent="0">
              <a:buNone/>
              <a:defRPr/>
            </a:lvl3pPr>
            <a:lvl4pPr marL="601118" indent="0">
              <a:buNone/>
              <a:defRPr/>
            </a:lvl4pPr>
            <a:lvl5pPr marL="719649" indent="0">
              <a:buNone/>
              <a:defRPr/>
            </a:lvl5pPr>
          </a:lstStyle>
          <a:p>
            <a:pPr lvl="0"/>
            <a:r>
              <a:rPr lang="fi-FI"/>
              <a:t>Muokkaa tekstiä</a:t>
            </a:r>
          </a:p>
        </p:txBody>
      </p:sp>
      <p:sp>
        <p:nvSpPr>
          <p:cNvPr id="7" name="Picture Placeholder 6">
            <a:extLst>
              <a:ext uri="{FF2B5EF4-FFF2-40B4-BE49-F238E27FC236}">
                <a16:creationId xmlns:a16="http://schemas.microsoft.com/office/drawing/2014/main" id="{DDD39863-8EAC-7941-ADD7-AC0F83A2BA3A}"/>
              </a:ext>
            </a:extLst>
          </p:cNvPr>
          <p:cNvSpPr>
            <a:spLocks noGrp="1"/>
          </p:cNvSpPr>
          <p:nvPr>
            <p:ph type="pic" sz="quarter" idx="20" hasCustomPrompt="1"/>
          </p:nvPr>
        </p:nvSpPr>
        <p:spPr>
          <a:xfrm>
            <a:off x="0" y="0"/>
            <a:ext cx="6596743" cy="6858000"/>
          </a:xfrm>
          <a:prstGeom prst="parallelogram">
            <a:avLst/>
          </a:prstGeom>
        </p:spPr>
        <p:txBody>
          <a:bodyPr/>
          <a:lstStyle>
            <a:lvl1pPr>
              <a:buClr>
                <a:schemeClr val="accent1"/>
              </a:buClr>
              <a:defRPr>
                <a:solidFill>
                  <a:schemeClr val="accent3"/>
                </a:solidFill>
              </a:defRPr>
            </a:lvl1pPr>
          </a:lstStyle>
          <a:p>
            <a:r>
              <a:rPr lang="fi-FI"/>
              <a:t>Lisää kuva</a:t>
            </a:r>
          </a:p>
        </p:txBody>
      </p:sp>
      <p:sp>
        <p:nvSpPr>
          <p:cNvPr id="2" name="Otsikko 1">
            <a:extLst>
              <a:ext uri="{FF2B5EF4-FFF2-40B4-BE49-F238E27FC236}">
                <a16:creationId xmlns:a16="http://schemas.microsoft.com/office/drawing/2014/main" id="{AB642C37-2777-2642-8A32-9FEF4F6E2ED1}"/>
              </a:ext>
            </a:extLst>
          </p:cNvPr>
          <p:cNvSpPr>
            <a:spLocks noGrp="1"/>
          </p:cNvSpPr>
          <p:nvPr>
            <p:ph type="title" hasCustomPrompt="1"/>
          </p:nvPr>
        </p:nvSpPr>
        <p:spPr>
          <a:xfrm>
            <a:off x="6270950" y="2113023"/>
            <a:ext cx="5570983" cy="1315977"/>
          </a:xfrm>
        </p:spPr>
        <p:txBody>
          <a:bodyPr>
            <a:noAutofit/>
          </a:bodyPr>
          <a:lstStyle>
            <a:lvl1pPr>
              <a:defRPr sz="5400">
                <a:solidFill>
                  <a:schemeClr val="accent1"/>
                </a:solidFill>
              </a:defRPr>
            </a:lvl1pPr>
          </a:lstStyle>
          <a:p>
            <a:r>
              <a:rPr lang="fi-FI"/>
              <a:t>MUOKKAA TEKSTIÄ</a:t>
            </a:r>
          </a:p>
        </p:txBody>
      </p:sp>
      <p:pic>
        <p:nvPicPr>
          <p:cNvPr id="9" name="Kuva 8" descr="Kuva, joka sisältää kohteen teksti, kello&#10;&#10;Kuvaus luotu automaattisesti">
            <a:extLst>
              <a:ext uri="{FF2B5EF4-FFF2-40B4-BE49-F238E27FC236}">
                <a16:creationId xmlns:a16="http://schemas.microsoft.com/office/drawing/2014/main" id="{1C4FF64D-5635-4179-8FCC-31A96BB6D760}"/>
              </a:ext>
            </a:extLst>
          </p:cNvPr>
          <p:cNvPicPr>
            <a:picLocks noChangeAspect="1"/>
          </p:cNvPicPr>
          <p:nvPr userDrawn="1"/>
        </p:nvPicPr>
        <p:blipFill>
          <a:blip r:embed="rId2"/>
          <a:stretch>
            <a:fillRect/>
          </a:stretch>
        </p:blipFill>
        <p:spPr>
          <a:xfrm>
            <a:off x="10089751" y="6139935"/>
            <a:ext cx="1782003" cy="457339"/>
          </a:xfrm>
          <a:prstGeom prst="rect">
            <a:avLst/>
          </a:prstGeom>
        </p:spPr>
      </p:pic>
    </p:spTree>
    <p:extLst>
      <p:ext uri="{BB962C8B-B14F-4D97-AF65-F5344CB8AC3E}">
        <p14:creationId xmlns:p14="http://schemas.microsoft.com/office/powerpoint/2010/main" val="3189681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tsikko ja sisältö">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45D1EA1-C857-FC48-A046-C0DC4AC0FDE3}"/>
              </a:ext>
            </a:extLst>
          </p:cNvPr>
          <p:cNvSpPr>
            <a:spLocks noGrp="1"/>
          </p:cNvSpPr>
          <p:nvPr>
            <p:ph type="title" hasCustomPrompt="1"/>
          </p:nvPr>
        </p:nvSpPr>
        <p:spPr>
          <a:xfrm>
            <a:off x="6905948" y="969811"/>
            <a:ext cx="4753509" cy="700223"/>
          </a:xfrm>
        </p:spPr>
        <p:txBody>
          <a:bodyPr anchor="t">
            <a:normAutofit/>
          </a:bodyPr>
          <a:lstStyle>
            <a:lvl1pPr algn="l">
              <a:defRPr sz="2400">
                <a:solidFill>
                  <a:schemeClr val="accent1"/>
                </a:solidFill>
              </a:defRPr>
            </a:lvl1pPr>
          </a:lstStyle>
          <a:p>
            <a:r>
              <a:rPr lang="fi-FI"/>
              <a:t>MUOKKAA TEKSTIÄ</a:t>
            </a:r>
            <a:endParaRPr lang="en-US"/>
          </a:p>
        </p:txBody>
      </p:sp>
      <p:sp>
        <p:nvSpPr>
          <p:cNvPr id="8" name="Content Placeholder 4">
            <a:extLst>
              <a:ext uri="{FF2B5EF4-FFF2-40B4-BE49-F238E27FC236}">
                <a16:creationId xmlns:a16="http://schemas.microsoft.com/office/drawing/2014/main" id="{72404941-FC2D-9440-A4A4-E771E16E6290}"/>
              </a:ext>
            </a:extLst>
          </p:cNvPr>
          <p:cNvSpPr>
            <a:spLocks noGrp="1"/>
          </p:cNvSpPr>
          <p:nvPr>
            <p:ph sz="quarter" idx="18" hasCustomPrompt="1"/>
          </p:nvPr>
        </p:nvSpPr>
        <p:spPr>
          <a:xfrm>
            <a:off x="6905948" y="1670034"/>
            <a:ext cx="4747336" cy="4203979"/>
          </a:xfrm>
        </p:spPr>
        <p:txBody>
          <a:bodyPr/>
          <a:lstStyle>
            <a:lvl2pPr>
              <a:defRPr/>
            </a:lvl2pPr>
            <a:lvl3pPr>
              <a:defRPr/>
            </a:lvl3pPr>
            <a:lvl4pPr>
              <a:defRPr/>
            </a:lvl4pPr>
            <a:lvl5pPr>
              <a:defRPr/>
            </a:lvl5pPr>
          </a:lstStyle>
          <a:p>
            <a:pPr lvl="0"/>
            <a:r>
              <a:rPr lang="en-US" err="1"/>
              <a:t>Muokkaa</a:t>
            </a:r>
            <a:r>
              <a:rPr lang="en-US"/>
              <a:t> </a:t>
            </a:r>
            <a:r>
              <a:rPr lang="en-US" err="1"/>
              <a:t>tekstiä</a:t>
            </a:r>
            <a:endParaRPr lang="en-US"/>
          </a:p>
          <a:p>
            <a:pPr lvl="1"/>
            <a:r>
              <a:rPr lang="en-US" err="1"/>
              <a:t>Toinen</a:t>
            </a:r>
            <a:r>
              <a:rPr lang="en-US"/>
              <a:t> </a:t>
            </a:r>
            <a:r>
              <a:rPr lang="en-US" err="1"/>
              <a:t>taso</a:t>
            </a:r>
            <a:endParaRPr lang="en-US"/>
          </a:p>
          <a:p>
            <a:pPr lvl="2"/>
            <a:r>
              <a:rPr lang="en-US" err="1"/>
              <a:t>Kolmas</a:t>
            </a:r>
            <a:r>
              <a:rPr lang="en-US"/>
              <a:t> </a:t>
            </a:r>
            <a:r>
              <a:rPr lang="en-US" err="1"/>
              <a:t>taso</a:t>
            </a:r>
            <a:endParaRPr lang="en-US"/>
          </a:p>
          <a:p>
            <a:pPr lvl="3"/>
            <a:r>
              <a:rPr lang="en-US" err="1"/>
              <a:t>Neljäs</a:t>
            </a:r>
            <a:r>
              <a:rPr lang="en-US"/>
              <a:t> </a:t>
            </a:r>
            <a:r>
              <a:rPr lang="en-US" err="1"/>
              <a:t>taso</a:t>
            </a:r>
            <a:endParaRPr lang="en-US"/>
          </a:p>
          <a:p>
            <a:pPr lvl="4"/>
            <a:r>
              <a:rPr lang="en-US" err="1"/>
              <a:t>Viides</a:t>
            </a:r>
            <a:r>
              <a:rPr lang="en-US"/>
              <a:t> </a:t>
            </a:r>
            <a:r>
              <a:rPr lang="en-US" err="1"/>
              <a:t>taso</a:t>
            </a:r>
            <a:endParaRPr lang="fi-FI"/>
          </a:p>
        </p:txBody>
      </p:sp>
      <p:sp>
        <p:nvSpPr>
          <p:cNvPr id="4" name="Rectangle 3">
            <a:extLst>
              <a:ext uri="{FF2B5EF4-FFF2-40B4-BE49-F238E27FC236}">
                <a16:creationId xmlns:a16="http://schemas.microsoft.com/office/drawing/2014/main" id="{BD97A3B2-DF09-E948-830E-78165F1E436B}"/>
              </a:ext>
            </a:extLst>
          </p:cNvPr>
          <p:cNvSpPr/>
          <p:nvPr userDrawn="1"/>
        </p:nvSpPr>
        <p:spPr>
          <a:xfrm>
            <a:off x="0" y="6551657"/>
            <a:ext cx="1884556" cy="3063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err="1">
              <a:solidFill>
                <a:schemeClr val="bg1"/>
              </a:solidFill>
              <a:latin typeface="Open Sans" panose="020B0606030504020204" pitchFamily="34" charset="0"/>
              <a:ea typeface="Muli" charset="0"/>
              <a:cs typeface="Muli" charset="0"/>
            </a:endParaRPr>
          </a:p>
        </p:txBody>
      </p:sp>
      <p:sp>
        <p:nvSpPr>
          <p:cNvPr id="6" name="Alatunnisteen paikkamerkki 1">
            <a:extLst>
              <a:ext uri="{FF2B5EF4-FFF2-40B4-BE49-F238E27FC236}">
                <a16:creationId xmlns:a16="http://schemas.microsoft.com/office/drawing/2014/main" id="{DA9C39E7-85BA-6742-97BA-6F3619BE258A}"/>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a:solidFill>
                  <a:schemeClr val="accent3"/>
                </a:solidFill>
              </a:defRPr>
            </a:lvl1pPr>
          </a:lstStyle>
          <a:p>
            <a:endParaRPr lang="fi-FI"/>
          </a:p>
        </p:txBody>
      </p:sp>
      <p:sp>
        <p:nvSpPr>
          <p:cNvPr id="7" name="Picture Placeholder 6">
            <a:extLst>
              <a:ext uri="{FF2B5EF4-FFF2-40B4-BE49-F238E27FC236}">
                <a16:creationId xmlns:a16="http://schemas.microsoft.com/office/drawing/2014/main" id="{71DEFF99-CCA9-C345-AB2B-D9857675AA1C}"/>
              </a:ext>
            </a:extLst>
          </p:cNvPr>
          <p:cNvSpPr>
            <a:spLocks noGrp="1"/>
          </p:cNvSpPr>
          <p:nvPr>
            <p:ph type="pic" sz="quarter" idx="20" hasCustomPrompt="1"/>
          </p:nvPr>
        </p:nvSpPr>
        <p:spPr>
          <a:xfrm>
            <a:off x="0" y="0"/>
            <a:ext cx="6596743" cy="6858000"/>
          </a:xfrm>
          <a:prstGeom prst="parallelogram">
            <a:avLst/>
          </a:prstGeom>
        </p:spPr>
        <p:txBody>
          <a:bodyPr/>
          <a:lstStyle>
            <a:lvl1pPr>
              <a:buClr>
                <a:schemeClr val="accent1"/>
              </a:buClr>
              <a:defRPr>
                <a:solidFill>
                  <a:schemeClr val="accent3"/>
                </a:solidFill>
              </a:defRPr>
            </a:lvl1pPr>
          </a:lstStyle>
          <a:p>
            <a:r>
              <a:rPr lang="fi-FI"/>
              <a:t>Lisää kuva</a:t>
            </a:r>
          </a:p>
        </p:txBody>
      </p:sp>
    </p:spTree>
    <p:extLst>
      <p:ext uri="{BB962C8B-B14F-4D97-AF65-F5344CB8AC3E}">
        <p14:creationId xmlns:p14="http://schemas.microsoft.com/office/powerpoint/2010/main" val="31662460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uva ja teksti 13">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4E61B9-E756-A04F-BA75-0D817E5E0236}"/>
              </a:ext>
            </a:extLst>
          </p:cNvPr>
          <p:cNvSpPr/>
          <p:nvPr userDrawn="1"/>
        </p:nvSpPr>
        <p:spPr>
          <a:xfrm>
            <a:off x="445943" y="6362496"/>
            <a:ext cx="1782305" cy="38358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err="1">
              <a:solidFill>
                <a:schemeClr val="bg1"/>
              </a:solidFill>
              <a:latin typeface="Open Sans" panose="020B0606030504020204" pitchFamily="34" charset="0"/>
              <a:ea typeface="Muli" charset="0"/>
              <a:cs typeface="Muli" charset="0"/>
            </a:endParaRPr>
          </a:p>
        </p:txBody>
      </p:sp>
      <p:sp>
        <p:nvSpPr>
          <p:cNvPr id="6" name="Picture Placeholder 5">
            <a:extLst>
              <a:ext uri="{FF2B5EF4-FFF2-40B4-BE49-F238E27FC236}">
                <a16:creationId xmlns:a16="http://schemas.microsoft.com/office/drawing/2014/main" id="{18F0FD55-08E1-4909-9207-CC067D9BB115}"/>
              </a:ext>
            </a:extLst>
          </p:cNvPr>
          <p:cNvSpPr>
            <a:spLocks noGrp="1"/>
          </p:cNvSpPr>
          <p:nvPr>
            <p:ph type="pic" sz="quarter" idx="10" hasCustomPrompt="1"/>
          </p:nvPr>
        </p:nvSpPr>
        <p:spPr bwMode="auto">
          <a:xfrm>
            <a:off x="532543" y="0"/>
            <a:ext cx="5894382" cy="6858000"/>
          </a:xfrm>
          <a:custGeom>
            <a:avLst/>
            <a:gdLst>
              <a:gd name="connsiteX0" fmla="*/ 510470 w 4191880"/>
              <a:gd name="connsiteY0" fmla="*/ 4972050 h 6858000"/>
              <a:gd name="connsiteX1" fmla="*/ 1696330 w 4191880"/>
              <a:gd name="connsiteY1" fmla="*/ 4972050 h 6858000"/>
              <a:gd name="connsiteX2" fmla="*/ 1185860 w 4191880"/>
              <a:gd name="connsiteY2" fmla="*/ 6858000 h 6858000"/>
              <a:gd name="connsiteX3" fmla="*/ 0 w 4191880"/>
              <a:gd name="connsiteY3" fmla="*/ 6858000 h 6858000"/>
              <a:gd name="connsiteX4" fmla="*/ 3006020 w 4191880"/>
              <a:gd name="connsiteY4" fmla="*/ 647700 h 6858000"/>
              <a:gd name="connsiteX5" fmla="*/ 4191880 w 4191880"/>
              <a:gd name="connsiteY5" fmla="*/ 647700 h 6858000"/>
              <a:gd name="connsiteX6" fmla="*/ 2882190 w 4191880"/>
              <a:gd name="connsiteY6" fmla="*/ 5486400 h 6858000"/>
              <a:gd name="connsiteX7" fmla="*/ 1696330 w 4191880"/>
              <a:gd name="connsiteY7" fmla="*/ 5486400 h 6858000"/>
              <a:gd name="connsiteX8" fmla="*/ 1863020 w 4191880"/>
              <a:gd name="connsiteY8" fmla="*/ 0 h 6858000"/>
              <a:gd name="connsiteX9" fmla="*/ 3048880 w 4191880"/>
              <a:gd name="connsiteY9" fmla="*/ 0 h 6858000"/>
              <a:gd name="connsiteX10" fmla="*/ 1739190 w 4191880"/>
              <a:gd name="connsiteY10" fmla="*/ 4838700 h 6858000"/>
              <a:gd name="connsiteX11" fmla="*/ 553330 w 4191880"/>
              <a:gd name="connsiteY11" fmla="*/ 4838700 h 6858000"/>
              <a:gd name="connsiteX0" fmla="*/ 510470 w 4191880"/>
              <a:gd name="connsiteY0" fmla="*/ 4985698 h 6871648"/>
              <a:gd name="connsiteX1" fmla="*/ 1696330 w 4191880"/>
              <a:gd name="connsiteY1" fmla="*/ 4985698 h 6871648"/>
              <a:gd name="connsiteX2" fmla="*/ 1185860 w 4191880"/>
              <a:gd name="connsiteY2" fmla="*/ 6871648 h 6871648"/>
              <a:gd name="connsiteX3" fmla="*/ 0 w 4191880"/>
              <a:gd name="connsiteY3" fmla="*/ 6871648 h 6871648"/>
              <a:gd name="connsiteX4" fmla="*/ 510470 w 4191880"/>
              <a:gd name="connsiteY4" fmla="*/ 4985698 h 6871648"/>
              <a:gd name="connsiteX5" fmla="*/ 3006020 w 4191880"/>
              <a:gd name="connsiteY5" fmla="*/ 661348 h 6871648"/>
              <a:gd name="connsiteX6" fmla="*/ 4191880 w 4191880"/>
              <a:gd name="connsiteY6" fmla="*/ 661348 h 6871648"/>
              <a:gd name="connsiteX7" fmla="*/ 2882190 w 4191880"/>
              <a:gd name="connsiteY7" fmla="*/ 5500048 h 6871648"/>
              <a:gd name="connsiteX8" fmla="*/ 1696330 w 4191880"/>
              <a:gd name="connsiteY8" fmla="*/ 5500048 h 6871648"/>
              <a:gd name="connsiteX9" fmla="*/ 3006020 w 4191880"/>
              <a:gd name="connsiteY9" fmla="*/ 661348 h 6871648"/>
              <a:gd name="connsiteX10" fmla="*/ 1044155 w 4191880"/>
              <a:gd name="connsiteY10" fmla="*/ 0 h 6871648"/>
              <a:gd name="connsiteX11" fmla="*/ 3048880 w 4191880"/>
              <a:gd name="connsiteY11" fmla="*/ 13648 h 6871648"/>
              <a:gd name="connsiteX12" fmla="*/ 1739190 w 4191880"/>
              <a:gd name="connsiteY12" fmla="*/ 4852348 h 6871648"/>
              <a:gd name="connsiteX13" fmla="*/ 553330 w 4191880"/>
              <a:gd name="connsiteY13" fmla="*/ 4852348 h 6871648"/>
              <a:gd name="connsiteX14" fmla="*/ 1044155 w 4191880"/>
              <a:gd name="connsiteY14" fmla="*/ 0 h 6871648"/>
              <a:gd name="connsiteX0" fmla="*/ 830597 w 4512007"/>
              <a:gd name="connsiteY0" fmla="*/ 4985698 h 6871648"/>
              <a:gd name="connsiteX1" fmla="*/ 2016457 w 4512007"/>
              <a:gd name="connsiteY1" fmla="*/ 4985698 h 6871648"/>
              <a:gd name="connsiteX2" fmla="*/ 1505987 w 4512007"/>
              <a:gd name="connsiteY2" fmla="*/ 6871648 h 6871648"/>
              <a:gd name="connsiteX3" fmla="*/ 320127 w 4512007"/>
              <a:gd name="connsiteY3" fmla="*/ 6871648 h 6871648"/>
              <a:gd name="connsiteX4" fmla="*/ 830597 w 4512007"/>
              <a:gd name="connsiteY4" fmla="*/ 4985698 h 6871648"/>
              <a:gd name="connsiteX5" fmla="*/ 3326147 w 4512007"/>
              <a:gd name="connsiteY5" fmla="*/ 661348 h 6871648"/>
              <a:gd name="connsiteX6" fmla="*/ 4512007 w 4512007"/>
              <a:gd name="connsiteY6" fmla="*/ 661348 h 6871648"/>
              <a:gd name="connsiteX7" fmla="*/ 3202317 w 4512007"/>
              <a:gd name="connsiteY7" fmla="*/ 5500048 h 6871648"/>
              <a:gd name="connsiteX8" fmla="*/ 2016457 w 4512007"/>
              <a:gd name="connsiteY8" fmla="*/ 5500048 h 6871648"/>
              <a:gd name="connsiteX9" fmla="*/ 3326147 w 4512007"/>
              <a:gd name="connsiteY9" fmla="*/ 661348 h 6871648"/>
              <a:gd name="connsiteX10" fmla="*/ 1364282 w 4512007"/>
              <a:gd name="connsiteY10" fmla="*/ 0 h 6871648"/>
              <a:gd name="connsiteX11" fmla="*/ 3369007 w 4512007"/>
              <a:gd name="connsiteY11" fmla="*/ 13648 h 6871648"/>
              <a:gd name="connsiteX12" fmla="*/ 2059317 w 4512007"/>
              <a:gd name="connsiteY12" fmla="*/ 4852348 h 6871648"/>
              <a:gd name="connsiteX13" fmla="*/ 0 w 4512007"/>
              <a:gd name="connsiteY13" fmla="*/ 4865996 h 6871648"/>
              <a:gd name="connsiteX14" fmla="*/ 1364282 w 4512007"/>
              <a:gd name="connsiteY14" fmla="*/ 0 h 6871648"/>
              <a:gd name="connsiteX0" fmla="*/ 0 w 4554866"/>
              <a:gd name="connsiteY0" fmla="*/ 4985698 h 6871648"/>
              <a:gd name="connsiteX1" fmla="*/ 2059316 w 4554866"/>
              <a:gd name="connsiteY1" fmla="*/ 4985698 h 6871648"/>
              <a:gd name="connsiteX2" fmla="*/ 1548846 w 4554866"/>
              <a:gd name="connsiteY2" fmla="*/ 6871648 h 6871648"/>
              <a:gd name="connsiteX3" fmla="*/ 362986 w 4554866"/>
              <a:gd name="connsiteY3" fmla="*/ 6871648 h 6871648"/>
              <a:gd name="connsiteX4" fmla="*/ 0 w 4554866"/>
              <a:gd name="connsiteY4" fmla="*/ 4985698 h 6871648"/>
              <a:gd name="connsiteX5" fmla="*/ 3369006 w 4554866"/>
              <a:gd name="connsiteY5" fmla="*/ 661348 h 6871648"/>
              <a:gd name="connsiteX6" fmla="*/ 4554866 w 4554866"/>
              <a:gd name="connsiteY6" fmla="*/ 661348 h 6871648"/>
              <a:gd name="connsiteX7" fmla="*/ 3245176 w 4554866"/>
              <a:gd name="connsiteY7" fmla="*/ 5500048 h 6871648"/>
              <a:gd name="connsiteX8" fmla="*/ 2059316 w 4554866"/>
              <a:gd name="connsiteY8" fmla="*/ 5500048 h 6871648"/>
              <a:gd name="connsiteX9" fmla="*/ 3369006 w 4554866"/>
              <a:gd name="connsiteY9" fmla="*/ 661348 h 6871648"/>
              <a:gd name="connsiteX10" fmla="*/ 1407141 w 4554866"/>
              <a:gd name="connsiteY10" fmla="*/ 0 h 6871648"/>
              <a:gd name="connsiteX11" fmla="*/ 3411866 w 4554866"/>
              <a:gd name="connsiteY11" fmla="*/ 13648 h 6871648"/>
              <a:gd name="connsiteX12" fmla="*/ 2102176 w 4554866"/>
              <a:gd name="connsiteY12" fmla="*/ 4852348 h 6871648"/>
              <a:gd name="connsiteX13" fmla="*/ 42859 w 4554866"/>
              <a:gd name="connsiteY13" fmla="*/ 4865996 h 6871648"/>
              <a:gd name="connsiteX14" fmla="*/ 1407141 w 4554866"/>
              <a:gd name="connsiteY14" fmla="*/ 0 h 6871648"/>
              <a:gd name="connsiteX0" fmla="*/ 606005 w 5160871"/>
              <a:gd name="connsiteY0" fmla="*/ 4985698 h 6898944"/>
              <a:gd name="connsiteX1" fmla="*/ 2665321 w 5160871"/>
              <a:gd name="connsiteY1" fmla="*/ 4985698 h 6898944"/>
              <a:gd name="connsiteX2" fmla="*/ 2154851 w 5160871"/>
              <a:gd name="connsiteY2" fmla="*/ 6871648 h 6898944"/>
              <a:gd name="connsiteX3" fmla="*/ 0 w 5160871"/>
              <a:gd name="connsiteY3" fmla="*/ 6898944 h 6898944"/>
              <a:gd name="connsiteX4" fmla="*/ 606005 w 5160871"/>
              <a:gd name="connsiteY4" fmla="*/ 4985698 h 6898944"/>
              <a:gd name="connsiteX5" fmla="*/ 3975011 w 5160871"/>
              <a:gd name="connsiteY5" fmla="*/ 661348 h 6898944"/>
              <a:gd name="connsiteX6" fmla="*/ 5160871 w 5160871"/>
              <a:gd name="connsiteY6" fmla="*/ 661348 h 6898944"/>
              <a:gd name="connsiteX7" fmla="*/ 3851181 w 5160871"/>
              <a:gd name="connsiteY7" fmla="*/ 5500048 h 6898944"/>
              <a:gd name="connsiteX8" fmla="*/ 2665321 w 5160871"/>
              <a:gd name="connsiteY8" fmla="*/ 5500048 h 6898944"/>
              <a:gd name="connsiteX9" fmla="*/ 3975011 w 5160871"/>
              <a:gd name="connsiteY9" fmla="*/ 661348 h 6898944"/>
              <a:gd name="connsiteX10" fmla="*/ 2013146 w 5160871"/>
              <a:gd name="connsiteY10" fmla="*/ 0 h 6898944"/>
              <a:gd name="connsiteX11" fmla="*/ 4017871 w 5160871"/>
              <a:gd name="connsiteY11" fmla="*/ 13648 h 6898944"/>
              <a:gd name="connsiteX12" fmla="*/ 2708181 w 5160871"/>
              <a:gd name="connsiteY12" fmla="*/ 4852348 h 6898944"/>
              <a:gd name="connsiteX13" fmla="*/ 648864 w 5160871"/>
              <a:gd name="connsiteY13" fmla="*/ 4865996 h 6898944"/>
              <a:gd name="connsiteX14" fmla="*/ 2013146 w 5160871"/>
              <a:gd name="connsiteY14" fmla="*/ 0 h 6898944"/>
              <a:gd name="connsiteX0" fmla="*/ 606005 w 5925146"/>
              <a:gd name="connsiteY0" fmla="*/ 4985698 h 6898944"/>
              <a:gd name="connsiteX1" fmla="*/ 2665321 w 5925146"/>
              <a:gd name="connsiteY1" fmla="*/ 4985698 h 6898944"/>
              <a:gd name="connsiteX2" fmla="*/ 2154851 w 5925146"/>
              <a:gd name="connsiteY2" fmla="*/ 6871648 h 6898944"/>
              <a:gd name="connsiteX3" fmla="*/ 0 w 5925146"/>
              <a:gd name="connsiteY3" fmla="*/ 6898944 h 6898944"/>
              <a:gd name="connsiteX4" fmla="*/ 606005 w 5925146"/>
              <a:gd name="connsiteY4" fmla="*/ 4985698 h 6898944"/>
              <a:gd name="connsiteX5" fmla="*/ 3975011 w 5925146"/>
              <a:gd name="connsiteY5" fmla="*/ 661348 h 6898944"/>
              <a:gd name="connsiteX6" fmla="*/ 5925146 w 5925146"/>
              <a:gd name="connsiteY6" fmla="*/ 661348 h 6898944"/>
              <a:gd name="connsiteX7" fmla="*/ 3851181 w 5925146"/>
              <a:gd name="connsiteY7" fmla="*/ 5500048 h 6898944"/>
              <a:gd name="connsiteX8" fmla="*/ 2665321 w 5925146"/>
              <a:gd name="connsiteY8" fmla="*/ 5500048 h 6898944"/>
              <a:gd name="connsiteX9" fmla="*/ 3975011 w 5925146"/>
              <a:gd name="connsiteY9" fmla="*/ 661348 h 6898944"/>
              <a:gd name="connsiteX10" fmla="*/ 2013146 w 5925146"/>
              <a:gd name="connsiteY10" fmla="*/ 0 h 6898944"/>
              <a:gd name="connsiteX11" fmla="*/ 4017871 w 5925146"/>
              <a:gd name="connsiteY11" fmla="*/ 13648 h 6898944"/>
              <a:gd name="connsiteX12" fmla="*/ 2708181 w 5925146"/>
              <a:gd name="connsiteY12" fmla="*/ 4852348 h 6898944"/>
              <a:gd name="connsiteX13" fmla="*/ 648864 w 5925146"/>
              <a:gd name="connsiteY13" fmla="*/ 4865996 h 6898944"/>
              <a:gd name="connsiteX14" fmla="*/ 2013146 w 5925146"/>
              <a:gd name="connsiteY14" fmla="*/ 0 h 6898944"/>
              <a:gd name="connsiteX0" fmla="*/ 606005 w 5925146"/>
              <a:gd name="connsiteY0" fmla="*/ 4985698 h 6898944"/>
              <a:gd name="connsiteX1" fmla="*/ 2665321 w 5925146"/>
              <a:gd name="connsiteY1" fmla="*/ 4985698 h 6898944"/>
              <a:gd name="connsiteX2" fmla="*/ 2154851 w 5925146"/>
              <a:gd name="connsiteY2" fmla="*/ 6871648 h 6898944"/>
              <a:gd name="connsiteX3" fmla="*/ 0 w 5925146"/>
              <a:gd name="connsiteY3" fmla="*/ 6898944 h 6898944"/>
              <a:gd name="connsiteX4" fmla="*/ 606005 w 5925146"/>
              <a:gd name="connsiteY4" fmla="*/ 4985698 h 6898944"/>
              <a:gd name="connsiteX5" fmla="*/ 3975011 w 5925146"/>
              <a:gd name="connsiteY5" fmla="*/ 661348 h 6898944"/>
              <a:gd name="connsiteX6" fmla="*/ 5925146 w 5925146"/>
              <a:gd name="connsiteY6" fmla="*/ 661348 h 6898944"/>
              <a:gd name="connsiteX7" fmla="*/ 4670047 w 5925146"/>
              <a:gd name="connsiteY7" fmla="*/ 5500048 h 6898944"/>
              <a:gd name="connsiteX8" fmla="*/ 2665321 w 5925146"/>
              <a:gd name="connsiteY8" fmla="*/ 5500048 h 6898944"/>
              <a:gd name="connsiteX9" fmla="*/ 3975011 w 5925146"/>
              <a:gd name="connsiteY9" fmla="*/ 661348 h 6898944"/>
              <a:gd name="connsiteX10" fmla="*/ 2013146 w 5925146"/>
              <a:gd name="connsiteY10" fmla="*/ 0 h 6898944"/>
              <a:gd name="connsiteX11" fmla="*/ 4017871 w 5925146"/>
              <a:gd name="connsiteY11" fmla="*/ 13648 h 6898944"/>
              <a:gd name="connsiteX12" fmla="*/ 2708181 w 5925146"/>
              <a:gd name="connsiteY12" fmla="*/ 4852348 h 6898944"/>
              <a:gd name="connsiteX13" fmla="*/ 648864 w 5925146"/>
              <a:gd name="connsiteY13" fmla="*/ 4865996 h 6898944"/>
              <a:gd name="connsiteX14" fmla="*/ 2013146 w 5925146"/>
              <a:gd name="connsiteY14" fmla="*/ 0 h 6898944"/>
              <a:gd name="connsiteX0" fmla="*/ 606005 w 5925146"/>
              <a:gd name="connsiteY0" fmla="*/ 4985698 h 6898944"/>
              <a:gd name="connsiteX1" fmla="*/ 2665321 w 5925146"/>
              <a:gd name="connsiteY1" fmla="*/ 4985698 h 6898944"/>
              <a:gd name="connsiteX2" fmla="*/ 2154851 w 5925146"/>
              <a:gd name="connsiteY2" fmla="*/ 6871648 h 6898944"/>
              <a:gd name="connsiteX3" fmla="*/ 0 w 5925146"/>
              <a:gd name="connsiteY3" fmla="*/ 6898944 h 6898944"/>
              <a:gd name="connsiteX4" fmla="*/ 606005 w 5925146"/>
              <a:gd name="connsiteY4" fmla="*/ 4985698 h 6898944"/>
              <a:gd name="connsiteX5" fmla="*/ 3975011 w 5925146"/>
              <a:gd name="connsiteY5" fmla="*/ 661348 h 6898944"/>
              <a:gd name="connsiteX6" fmla="*/ 5925146 w 5925146"/>
              <a:gd name="connsiteY6" fmla="*/ 661348 h 6898944"/>
              <a:gd name="connsiteX7" fmla="*/ 4738285 w 5925146"/>
              <a:gd name="connsiteY7" fmla="*/ 5513696 h 6898944"/>
              <a:gd name="connsiteX8" fmla="*/ 2665321 w 5925146"/>
              <a:gd name="connsiteY8" fmla="*/ 5500048 h 6898944"/>
              <a:gd name="connsiteX9" fmla="*/ 3975011 w 5925146"/>
              <a:gd name="connsiteY9" fmla="*/ 661348 h 6898944"/>
              <a:gd name="connsiteX10" fmla="*/ 2013146 w 5925146"/>
              <a:gd name="connsiteY10" fmla="*/ 0 h 6898944"/>
              <a:gd name="connsiteX11" fmla="*/ 4017871 w 5925146"/>
              <a:gd name="connsiteY11" fmla="*/ 13648 h 6898944"/>
              <a:gd name="connsiteX12" fmla="*/ 2708181 w 5925146"/>
              <a:gd name="connsiteY12" fmla="*/ 4852348 h 6898944"/>
              <a:gd name="connsiteX13" fmla="*/ 648864 w 5925146"/>
              <a:gd name="connsiteY13" fmla="*/ 4865996 h 6898944"/>
              <a:gd name="connsiteX14" fmla="*/ 2013146 w 5925146"/>
              <a:gd name="connsiteY14" fmla="*/ 0 h 6898944"/>
              <a:gd name="connsiteX0" fmla="*/ 606005 w 5925146"/>
              <a:gd name="connsiteY0" fmla="*/ 4972050 h 6885296"/>
              <a:gd name="connsiteX1" fmla="*/ 2665321 w 5925146"/>
              <a:gd name="connsiteY1" fmla="*/ 4972050 h 6885296"/>
              <a:gd name="connsiteX2" fmla="*/ 2154851 w 5925146"/>
              <a:gd name="connsiteY2" fmla="*/ 6858000 h 6885296"/>
              <a:gd name="connsiteX3" fmla="*/ 0 w 5925146"/>
              <a:gd name="connsiteY3" fmla="*/ 6885296 h 6885296"/>
              <a:gd name="connsiteX4" fmla="*/ 606005 w 5925146"/>
              <a:gd name="connsiteY4" fmla="*/ 4972050 h 6885296"/>
              <a:gd name="connsiteX5" fmla="*/ 3975011 w 5925146"/>
              <a:gd name="connsiteY5" fmla="*/ 647700 h 6885296"/>
              <a:gd name="connsiteX6" fmla="*/ 5925146 w 5925146"/>
              <a:gd name="connsiteY6" fmla="*/ 647700 h 6885296"/>
              <a:gd name="connsiteX7" fmla="*/ 4738285 w 5925146"/>
              <a:gd name="connsiteY7" fmla="*/ 5500048 h 6885296"/>
              <a:gd name="connsiteX8" fmla="*/ 2665321 w 5925146"/>
              <a:gd name="connsiteY8" fmla="*/ 5486400 h 6885296"/>
              <a:gd name="connsiteX9" fmla="*/ 3975011 w 5925146"/>
              <a:gd name="connsiteY9" fmla="*/ 647700 h 6885296"/>
              <a:gd name="connsiteX10" fmla="*/ 2054090 w 5925146"/>
              <a:gd name="connsiteY10" fmla="*/ 0 h 6885296"/>
              <a:gd name="connsiteX11" fmla="*/ 4017871 w 5925146"/>
              <a:gd name="connsiteY11" fmla="*/ 0 h 6885296"/>
              <a:gd name="connsiteX12" fmla="*/ 2708181 w 5925146"/>
              <a:gd name="connsiteY12" fmla="*/ 4838700 h 6885296"/>
              <a:gd name="connsiteX13" fmla="*/ 648864 w 5925146"/>
              <a:gd name="connsiteY13" fmla="*/ 4852348 h 6885296"/>
              <a:gd name="connsiteX14" fmla="*/ 2054090 w 5925146"/>
              <a:gd name="connsiteY14" fmla="*/ 0 h 6885296"/>
              <a:gd name="connsiteX0" fmla="*/ 571104 w 5890245"/>
              <a:gd name="connsiteY0" fmla="*/ 4972050 h 6864355"/>
              <a:gd name="connsiteX1" fmla="*/ 2630420 w 5890245"/>
              <a:gd name="connsiteY1" fmla="*/ 4972050 h 6864355"/>
              <a:gd name="connsiteX2" fmla="*/ 2119950 w 5890245"/>
              <a:gd name="connsiteY2" fmla="*/ 6858000 h 6864355"/>
              <a:gd name="connsiteX3" fmla="*/ 0 w 5890245"/>
              <a:gd name="connsiteY3" fmla="*/ 6864355 h 6864355"/>
              <a:gd name="connsiteX4" fmla="*/ 571104 w 5890245"/>
              <a:gd name="connsiteY4" fmla="*/ 4972050 h 6864355"/>
              <a:gd name="connsiteX5" fmla="*/ 3940110 w 5890245"/>
              <a:gd name="connsiteY5" fmla="*/ 647700 h 6864355"/>
              <a:gd name="connsiteX6" fmla="*/ 5890245 w 5890245"/>
              <a:gd name="connsiteY6" fmla="*/ 647700 h 6864355"/>
              <a:gd name="connsiteX7" fmla="*/ 4703384 w 5890245"/>
              <a:gd name="connsiteY7" fmla="*/ 5500048 h 6864355"/>
              <a:gd name="connsiteX8" fmla="*/ 2630420 w 5890245"/>
              <a:gd name="connsiteY8" fmla="*/ 5486400 h 6864355"/>
              <a:gd name="connsiteX9" fmla="*/ 3940110 w 5890245"/>
              <a:gd name="connsiteY9" fmla="*/ 647700 h 6864355"/>
              <a:gd name="connsiteX10" fmla="*/ 2019189 w 5890245"/>
              <a:gd name="connsiteY10" fmla="*/ 0 h 6864355"/>
              <a:gd name="connsiteX11" fmla="*/ 3982970 w 5890245"/>
              <a:gd name="connsiteY11" fmla="*/ 0 h 6864355"/>
              <a:gd name="connsiteX12" fmla="*/ 2673280 w 5890245"/>
              <a:gd name="connsiteY12" fmla="*/ 4838700 h 6864355"/>
              <a:gd name="connsiteX13" fmla="*/ 613963 w 5890245"/>
              <a:gd name="connsiteY13" fmla="*/ 4852348 h 6864355"/>
              <a:gd name="connsiteX14" fmla="*/ 2019189 w 5890245"/>
              <a:gd name="connsiteY14" fmla="*/ 0 h 6864355"/>
              <a:gd name="connsiteX0" fmla="*/ 571104 w 5890245"/>
              <a:gd name="connsiteY0" fmla="*/ 4972050 h 6864355"/>
              <a:gd name="connsiteX1" fmla="*/ 2630420 w 5890245"/>
              <a:gd name="connsiteY1" fmla="*/ 4972050 h 6864355"/>
              <a:gd name="connsiteX2" fmla="*/ 2119950 w 5890245"/>
              <a:gd name="connsiteY2" fmla="*/ 6858000 h 6864355"/>
              <a:gd name="connsiteX3" fmla="*/ 0 w 5890245"/>
              <a:gd name="connsiteY3" fmla="*/ 6864355 h 6864355"/>
              <a:gd name="connsiteX4" fmla="*/ 571104 w 5890245"/>
              <a:gd name="connsiteY4" fmla="*/ 4972050 h 6864355"/>
              <a:gd name="connsiteX5" fmla="*/ 3940110 w 5890245"/>
              <a:gd name="connsiteY5" fmla="*/ 647700 h 6864355"/>
              <a:gd name="connsiteX6" fmla="*/ 5890245 w 5890245"/>
              <a:gd name="connsiteY6" fmla="*/ 647700 h 6864355"/>
              <a:gd name="connsiteX7" fmla="*/ 4710364 w 5890245"/>
              <a:gd name="connsiteY7" fmla="*/ 5479108 h 6864355"/>
              <a:gd name="connsiteX8" fmla="*/ 2630420 w 5890245"/>
              <a:gd name="connsiteY8" fmla="*/ 5486400 h 6864355"/>
              <a:gd name="connsiteX9" fmla="*/ 3940110 w 5890245"/>
              <a:gd name="connsiteY9" fmla="*/ 647700 h 6864355"/>
              <a:gd name="connsiteX10" fmla="*/ 2019189 w 5890245"/>
              <a:gd name="connsiteY10" fmla="*/ 0 h 6864355"/>
              <a:gd name="connsiteX11" fmla="*/ 3982970 w 5890245"/>
              <a:gd name="connsiteY11" fmla="*/ 0 h 6864355"/>
              <a:gd name="connsiteX12" fmla="*/ 2673280 w 5890245"/>
              <a:gd name="connsiteY12" fmla="*/ 4838700 h 6864355"/>
              <a:gd name="connsiteX13" fmla="*/ 613963 w 5890245"/>
              <a:gd name="connsiteY13" fmla="*/ 4852348 h 6864355"/>
              <a:gd name="connsiteX14" fmla="*/ 2019189 w 5890245"/>
              <a:gd name="connsiteY14" fmla="*/ 0 h 6864355"/>
              <a:gd name="connsiteX0" fmla="*/ 571104 w 5890245"/>
              <a:gd name="connsiteY0" fmla="*/ 4972050 h 6864355"/>
              <a:gd name="connsiteX1" fmla="*/ 2630420 w 5890245"/>
              <a:gd name="connsiteY1" fmla="*/ 4972050 h 6864355"/>
              <a:gd name="connsiteX2" fmla="*/ 2119950 w 5890245"/>
              <a:gd name="connsiteY2" fmla="*/ 6858000 h 6864355"/>
              <a:gd name="connsiteX3" fmla="*/ 0 w 5890245"/>
              <a:gd name="connsiteY3" fmla="*/ 6864355 h 6864355"/>
              <a:gd name="connsiteX4" fmla="*/ 571104 w 5890245"/>
              <a:gd name="connsiteY4" fmla="*/ 4972050 h 6864355"/>
              <a:gd name="connsiteX5" fmla="*/ 3940110 w 5890245"/>
              <a:gd name="connsiteY5" fmla="*/ 647700 h 6864355"/>
              <a:gd name="connsiteX6" fmla="*/ 5890245 w 5890245"/>
              <a:gd name="connsiteY6" fmla="*/ 647700 h 6864355"/>
              <a:gd name="connsiteX7" fmla="*/ 4704922 w 5890245"/>
              <a:gd name="connsiteY7" fmla="*/ 5506323 h 6864355"/>
              <a:gd name="connsiteX8" fmla="*/ 2630420 w 5890245"/>
              <a:gd name="connsiteY8" fmla="*/ 5486400 h 6864355"/>
              <a:gd name="connsiteX9" fmla="*/ 3940110 w 5890245"/>
              <a:gd name="connsiteY9" fmla="*/ 647700 h 6864355"/>
              <a:gd name="connsiteX10" fmla="*/ 2019189 w 5890245"/>
              <a:gd name="connsiteY10" fmla="*/ 0 h 6864355"/>
              <a:gd name="connsiteX11" fmla="*/ 3982970 w 5890245"/>
              <a:gd name="connsiteY11" fmla="*/ 0 h 6864355"/>
              <a:gd name="connsiteX12" fmla="*/ 2673280 w 5890245"/>
              <a:gd name="connsiteY12" fmla="*/ 4838700 h 6864355"/>
              <a:gd name="connsiteX13" fmla="*/ 613963 w 5890245"/>
              <a:gd name="connsiteY13" fmla="*/ 4852348 h 6864355"/>
              <a:gd name="connsiteX14" fmla="*/ 2019189 w 5890245"/>
              <a:gd name="connsiteY14" fmla="*/ 0 h 6864355"/>
              <a:gd name="connsiteX0" fmla="*/ 571104 w 5890245"/>
              <a:gd name="connsiteY0" fmla="*/ 4972050 h 6864355"/>
              <a:gd name="connsiteX1" fmla="*/ 2630420 w 5890245"/>
              <a:gd name="connsiteY1" fmla="*/ 4972050 h 6864355"/>
              <a:gd name="connsiteX2" fmla="*/ 2119950 w 5890245"/>
              <a:gd name="connsiteY2" fmla="*/ 6858000 h 6864355"/>
              <a:gd name="connsiteX3" fmla="*/ 0 w 5890245"/>
              <a:gd name="connsiteY3" fmla="*/ 6864355 h 6864355"/>
              <a:gd name="connsiteX4" fmla="*/ 571104 w 5890245"/>
              <a:gd name="connsiteY4" fmla="*/ 4972050 h 6864355"/>
              <a:gd name="connsiteX5" fmla="*/ 3940110 w 5890245"/>
              <a:gd name="connsiteY5" fmla="*/ 647700 h 6864355"/>
              <a:gd name="connsiteX6" fmla="*/ 5890245 w 5890245"/>
              <a:gd name="connsiteY6" fmla="*/ 647700 h 6864355"/>
              <a:gd name="connsiteX7" fmla="*/ 4704922 w 5890245"/>
              <a:gd name="connsiteY7" fmla="*/ 5506323 h 6864355"/>
              <a:gd name="connsiteX8" fmla="*/ 2630420 w 5890245"/>
              <a:gd name="connsiteY8" fmla="*/ 5486400 h 6864355"/>
              <a:gd name="connsiteX9" fmla="*/ 3940110 w 5890245"/>
              <a:gd name="connsiteY9" fmla="*/ 647700 h 6864355"/>
              <a:gd name="connsiteX10" fmla="*/ 2019189 w 5890245"/>
              <a:gd name="connsiteY10" fmla="*/ 0 h 6864355"/>
              <a:gd name="connsiteX11" fmla="*/ 3982970 w 5890245"/>
              <a:gd name="connsiteY11" fmla="*/ 0 h 6864355"/>
              <a:gd name="connsiteX12" fmla="*/ 2669142 w 5890245"/>
              <a:gd name="connsiteY12" fmla="*/ 4855250 h 6864355"/>
              <a:gd name="connsiteX13" fmla="*/ 613963 w 5890245"/>
              <a:gd name="connsiteY13" fmla="*/ 4852348 h 6864355"/>
              <a:gd name="connsiteX14" fmla="*/ 2019189 w 5890245"/>
              <a:gd name="connsiteY14" fmla="*/ 0 h 6864355"/>
              <a:gd name="connsiteX0" fmla="*/ 571104 w 5890245"/>
              <a:gd name="connsiteY0" fmla="*/ 4972050 h 6864355"/>
              <a:gd name="connsiteX1" fmla="*/ 2630420 w 5890245"/>
              <a:gd name="connsiteY1" fmla="*/ 4972050 h 6864355"/>
              <a:gd name="connsiteX2" fmla="*/ 2119950 w 5890245"/>
              <a:gd name="connsiteY2" fmla="*/ 6858000 h 6864355"/>
              <a:gd name="connsiteX3" fmla="*/ 0 w 5890245"/>
              <a:gd name="connsiteY3" fmla="*/ 6864355 h 6864355"/>
              <a:gd name="connsiteX4" fmla="*/ 571104 w 5890245"/>
              <a:gd name="connsiteY4" fmla="*/ 4972050 h 6864355"/>
              <a:gd name="connsiteX5" fmla="*/ 3940110 w 5890245"/>
              <a:gd name="connsiteY5" fmla="*/ 647700 h 6864355"/>
              <a:gd name="connsiteX6" fmla="*/ 5890245 w 5890245"/>
              <a:gd name="connsiteY6" fmla="*/ 647700 h 6864355"/>
              <a:gd name="connsiteX7" fmla="*/ 4704922 w 5890245"/>
              <a:gd name="connsiteY7" fmla="*/ 5506323 h 6864355"/>
              <a:gd name="connsiteX8" fmla="*/ 2630420 w 5890245"/>
              <a:gd name="connsiteY8" fmla="*/ 5486400 h 6864355"/>
              <a:gd name="connsiteX9" fmla="*/ 3940110 w 5890245"/>
              <a:gd name="connsiteY9" fmla="*/ 647700 h 6864355"/>
              <a:gd name="connsiteX10" fmla="*/ 2019189 w 5890245"/>
              <a:gd name="connsiteY10" fmla="*/ 0 h 6864355"/>
              <a:gd name="connsiteX11" fmla="*/ 3982970 w 5890245"/>
              <a:gd name="connsiteY11" fmla="*/ 0 h 6864355"/>
              <a:gd name="connsiteX12" fmla="*/ 2669142 w 5890245"/>
              <a:gd name="connsiteY12" fmla="*/ 4855250 h 6864355"/>
              <a:gd name="connsiteX13" fmla="*/ 613963 w 5890245"/>
              <a:gd name="connsiteY13" fmla="*/ 4852348 h 6864355"/>
              <a:gd name="connsiteX14" fmla="*/ 2019189 w 5890245"/>
              <a:gd name="connsiteY14" fmla="*/ 0 h 6864355"/>
              <a:gd name="connsiteX0" fmla="*/ 571104 w 5890245"/>
              <a:gd name="connsiteY0" fmla="*/ 4972050 h 6864355"/>
              <a:gd name="connsiteX1" fmla="*/ 2630420 w 5890245"/>
              <a:gd name="connsiteY1" fmla="*/ 4972050 h 6864355"/>
              <a:gd name="connsiteX2" fmla="*/ 2119950 w 5890245"/>
              <a:gd name="connsiteY2" fmla="*/ 6858000 h 6864355"/>
              <a:gd name="connsiteX3" fmla="*/ 0 w 5890245"/>
              <a:gd name="connsiteY3" fmla="*/ 6864355 h 6864355"/>
              <a:gd name="connsiteX4" fmla="*/ 571104 w 5890245"/>
              <a:gd name="connsiteY4" fmla="*/ 4972050 h 6864355"/>
              <a:gd name="connsiteX5" fmla="*/ 3940110 w 5890245"/>
              <a:gd name="connsiteY5" fmla="*/ 647700 h 6864355"/>
              <a:gd name="connsiteX6" fmla="*/ 5890245 w 5890245"/>
              <a:gd name="connsiteY6" fmla="*/ 647700 h 6864355"/>
              <a:gd name="connsiteX7" fmla="*/ 4704922 w 5890245"/>
              <a:gd name="connsiteY7" fmla="*/ 5506323 h 6864355"/>
              <a:gd name="connsiteX8" fmla="*/ 2626282 w 5890245"/>
              <a:gd name="connsiteY8" fmla="*/ 5502951 h 6864355"/>
              <a:gd name="connsiteX9" fmla="*/ 3940110 w 5890245"/>
              <a:gd name="connsiteY9" fmla="*/ 647700 h 6864355"/>
              <a:gd name="connsiteX10" fmla="*/ 2019189 w 5890245"/>
              <a:gd name="connsiteY10" fmla="*/ 0 h 6864355"/>
              <a:gd name="connsiteX11" fmla="*/ 3982970 w 5890245"/>
              <a:gd name="connsiteY11" fmla="*/ 0 h 6864355"/>
              <a:gd name="connsiteX12" fmla="*/ 2669142 w 5890245"/>
              <a:gd name="connsiteY12" fmla="*/ 4855250 h 6864355"/>
              <a:gd name="connsiteX13" fmla="*/ 613963 w 5890245"/>
              <a:gd name="connsiteY13" fmla="*/ 4852348 h 6864355"/>
              <a:gd name="connsiteX14" fmla="*/ 2019189 w 5890245"/>
              <a:gd name="connsiteY14" fmla="*/ 0 h 6864355"/>
              <a:gd name="connsiteX0" fmla="*/ 571104 w 5890245"/>
              <a:gd name="connsiteY0" fmla="*/ 4972050 h 6864355"/>
              <a:gd name="connsiteX1" fmla="*/ 2630420 w 5890245"/>
              <a:gd name="connsiteY1" fmla="*/ 4972050 h 6864355"/>
              <a:gd name="connsiteX2" fmla="*/ 2119950 w 5890245"/>
              <a:gd name="connsiteY2" fmla="*/ 6858000 h 6864355"/>
              <a:gd name="connsiteX3" fmla="*/ 0 w 5890245"/>
              <a:gd name="connsiteY3" fmla="*/ 6864355 h 6864355"/>
              <a:gd name="connsiteX4" fmla="*/ 571104 w 5890245"/>
              <a:gd name="connsiteY4" fmla="*/ 4972050 h 6864355"/>
              <a:gd name="connsiteX5" fmla="*/ 3940110 w 5890245"/>
              <a:gd name="connsiteY5" fmla="*/ 647700 h 6864355"/>
              <a:gd name="connsiteX6" fmla="*/ 5890245 w 5890245"/>
              <a:gd name="connsiteY6" fmla="*/ 647700 h 6864355"/>
              <a:gd name="connsiteX7" fmla="*/ 4704922 w 5890245"/>
              <a:gd name="connsiteY7" fmla="*/ 5506323 h 6864355"/>
              <a:gd name="connsiteX8" fmla="*/ 2618007 w 5890245"/>
              <a:gd name="connsiteY8" fmla="*/ 5515364 h 6864355"/>
              <a:gd name="connsiteX9" fmla="*/ 3940110 w 5890245"/>
              <a:gd name="connsiteY9" fmla="*/ 647700 h 6864355"/>
              <a:gd name="connsiteX10" fmla="*/ 2019189 w 5890245"/>
              <a:gd name="connsiteY10" fmla="*/ 0 h 6864355"/>
              <a:gd name="connsiteX11" fmla="*/ 3982970 w 5890245"/>
              <a:gd name="connsiteY11" fmla="*/ 0 h 6864355"/>
              <a:gd name="connsiteX12" fmla="*/ 2669142 w 5890245"/>
              <a:gd name="connsiteY12" fmla="*/ 4855250 h 6864355"/>
              <a:gd name="connsiteX13" fmla="*/ 613963 w 5890245"/>
              <a:gd name="connsiteY13" fmla="*/ 4852348 h 6864355"/>
              <a:gd name="connsiteX14" fmla="*/ 2019189 w 5890245"/>
              <a:gd name="connsiteY14" fmla="*/ 0 h 6864355"/>
              <a:gd name="connsiteX0" fmla="*/ 571104 w 5890245"/>
              <a:gd name="connsiteY0" fmla="*/ 4972050 h 6864355"/>
              <a:gd name="connsiteX1" fmla="*/ 2630420 w 5890245"/>
              <a:gd name="connsiteY1" fmla="*/ 4972050 h 6864355"/>
              <a:gd name="connsiteX2" fmla="*/ 2119950 w 5890245"/>
              <a:gd name="connsiteY2" fmla="*/ 6858000 h 6864355"/>
              <a:gd name="connsiteX3" fmla="*/ 0 w 5890245"/>
              <a:gd name="connsiteY3" fmla="*/ 6864355 h 6864355"/>
              <a:gd name="connsiteX4" fmla="*/ 571104 w 5890245"/>
              <a:gd name="connsiteY4" fmla="*/ 4972050 h 6864355"/>
              <a:gd name="connsiteX5" fmla="*/ 3940110 w 5890245"/>
              <a:gd name="connsiteY5" fmla="*/ 647700 h 6864355"/>
              <a:gd name="connsiteX6" fmla="*/ 5890245 w 5890245"/>
              <a:gd name="connsiteY6" fmla="*/ 647700 h 6864355"/>
              <a:gd name="connsiteX7" fmla="*/ 4704922 w 5890245"/>
              <a:gd name="connsiteY7" fmla="*/ 5506323 h 6864355"/>
              <a:gd name="connsiteX8" fmla="*/ 2618007 w 5890245"/>
              <a:gd name="connsiteY8" fmla="*/ 5515364 h 6864355"/>
              <a:gd name="connsiteX9" fmla="*/ 3940110 w 5890245"/>
              <a:gd name="connsiteY9" fmla="*/ 647700 h 6864355"/>
              <a:gd name="connsiteX10" fmla="*/ 2019189 w 5890245"/>
              <a:gd name="connsiteY10" fmla="*/ 0 h 6864355"/>
              <a:gd name="connsiteX11" fmla="*/ 3982970 w 5890245"/>
              <a:gd name="connsiteY11" fmla="*/ 0 h 6864355"/>
              <a:gd name="connsiteX12" fmla="*/ 2669142 w 5890245"/>
              <a:gd name="connsiteY12" fmla="*/ 4855250 h 6864355"/>
              <a:gd name="connsiteX13" fmla="*/ 613963 w 5890245"/>
              <a:gd name="connsiteY13" fmla="*/ 4852348 h 6864355"/>
              <a:gd name="connsiteX14" fmla="*/ 2019189 w 5890245"/>
              <a:gd name="connsiteY14" fmla="*/ 0 h 6864355"/>
              <a:gd name="connsiteX0" fmla="*/ 571104 w 5890245"/>
              <a:gd name="connsiteY0" fmla="*/ 4972050 h 6864355"/>
              <a:gd name="connsiteX1" fmla="*/ 2630420 w 5890245"/>
              <a:gd name="connsiteY1" fmla="*/ 4972050 h 6864355"/>
              <a:gd name="connsiteX2" fmla="*/ 2119950 w 5890245"/>
              <a:gd name="connsiteY2" fmla="*/ 6858000 h 6864355"/>
              <a:gd name="connsiteX3" fmla="*/ 0 w 5890245"/>
              <a:gd name="connsiteY3" fmla="*/ 6864355 h 6864355"/>
              <a:gd name="connsiteX4" fmla="*/ 571104 w 5890245"/>
              <a:gd name="connsiteY4" fmla="*/ 4972050 h 6864355"/>
              <a:gd name="connsiteX5" fmla="*/ 3940110 w 5890245"/>
              <a:gd name="connsiteY5" fmla="*/ 647700 h 6864355"/>
              <a:gd name="connsiteX6" fmla="*/ 5890245 w 5890245"/>
              <a:gd name="connsiteY6" fmla="*/ 647700 h 6864355"/>
              <a:gd name="connsiteX7" fmla="*/ 4704922 w 5890245"/>
              <a:gd name="connsiteY7" fmla="*/ 5506323 h 6864355"/>
              <a:gd name="connsiteX8" fmla="*/ 2618007 w 5890245"/>
              <a:gd name="connsiteY8" fmla="*/ 5515364 h 6864355"/>
              <a:gd name="connsiteX9" fmla="*/ 3940110 w 5890245"/>
              <a:gd name="connsiteY9" fmla="*/ 647700 h 6864355"/>
              <a:gd name="connsiteX10" fmla="*/ 2019189 w 5890245"/>
              <a:gd name="connsiteY10" fmla="*/ 0 h 6864355"/>
              <a:gd name="connsiteX11" fmla="*/ 3982970 w 5890245"/>
              <a:gd name="connsiteY11" fmla="*/ 0 h 6864355"/>
              <a:gd name="connsiteX12" fmla="*/ 2669142 w 5890245"/>
              <a:gd name="connsiteY12" fmla="*/ 4855250 h 6864355"/>
              <a:gd name="connsiteX13" fmla="*/ 613963 w 5890245"/>
              <a:gd name="connsiteY13" fmla="*/ 4852348 h 6864355"/>
              <a:gd name="connsiteX14" fmla="*/ 2019189 w 5890245"/>
              <a:gd name="connsiteY14" fmla="*/ 0 h 6864355"/>
              <a:gd name="connsiteX0" fmla="*/ 571104 w 5890245"/>
              <a:gd name="connsiteY0" fmla="*/ 4972050 h 6864355"/>
              <a:gd name="connsiteX1" fmla="*/ 2630420 w 5890245"/>
              <a:gd name="connsiteY1" fmla="*/ 4972050 h 6864355"/>
              <a:gd name="connsiteX2" fmla="*/ 2119950 w 5890245"/>
              <a:gd name="connsiteY2" fmla="*/ 6858000 h 6864355"/>
              <a:gd name="connsiteX3" fmla="*/ 0 w 5890245"/>
              <a:gd name="connsiteY3" fmla="*/ 6864355 h 6864355"/>
              <a:gd name="connsiteX4" fmla="*/ 571104 w 5890245"/>
              <a:gd name="connsiteY4" fmla="*/ 4972050 h 6864355"/>
              <a:gd name="connsiteX5" fmla="*/ 3940110 w 5890245"/>
              <a:gd name="connsiteY5" fmla="*/ 647700 h 6864355"/>
              <a:gd name="connsiteX6" fmla="*/ 5890245 w 5890245"/>
              <a:gd name="connsiteY6" fmla="*/ 647700 h 6864355"/>
              <a:gd name="connsiteX7" fmla="*/ 4700785 w 5890245"/>
              <a:gd name="connsiteY7" fmla="*/ 5518735 h 6864355"/>
              <a:gd name="connsiteX8" fmla="*/ 2618007 w 5890245"/>
              <a:gd name="connsiteY8" fmla="*/ 5515364 h 6864355"/>
              <a:gd name="connsiteX9" fmla="*/ 3940110 w 5890245"/>
              <a:gd name="connsiteY9" fmla="*/ 647700 h 6864355"/>
              <a:gd name="connsiteX10" fmla="*/ 2019189 w 5890245"/>
              <a:gd name="connsiteY10" fmla="*/ 0 h 6864355"/>
              <a:gd name="connsiteX11" fmla="*/ 3982970 w 5890245"/>
              <a:gd name="connsiteY11" fmla="*/ 0 h 6864355"/>
              <a:gd name="connsiteX12" fmla="*/ 2669142 w 5890245"/>
              <a:gd name="connsiteY12" fmla="*/ 4855250 h 6864355"/>
              <a:gd name="connsiteX13" fmla="*/ 613963 w 5890245"/>
              <a:gd name="connsiteY13" fmla="*/ 4852348 h 6864355"/>
              <a:gd name="connsiteX14" fmla="*/ 2019189 w 5890245"/>
              <a:gd name="connsiteY14" fmla="*/ 0 h 6864355"/>
              <a:gd name="connsiteX0" fmla="*/ 575241 w 5894382"/>
              <a:gd name="connsiteY0" fmla="*/ 4972050 h 6858000"/>
              <a:gd name="connsiteX1" fmla="*/ 2634557 w 5894382"/>
              <a:gd name="connsiteY1" fmla="*/ 4972050 h 6858000"/>
              <a:gd name="connsiteX2" fmla="*/ 2124087 w 5894382"/>
              <a:gd name="connsiteY2" fmla="*/ 6858000 h 6858000"/>
              <a:gd name="connsiteX3" fmla="*/ 0 w 5894382"/>
              <a:gd name="connsiteY3" fmla="*/ 6856080 h 6858000"/>
              <a:gd name="connsiteX4" fmla="*/ 575241 w 5894382"/>
              <a:gd name="connsiteY4" fmla="*/ 4972050 h 6858000"/>
              <a:gd name="connsiteX5" fmla="*/ 3944247 w 5894382"/>
              <a:gd name="connsiteY5" fmla="*/ 647700 h 6858000"/>
              <a:gd name="connsiteX6" fmla="*/ 5894382 w 5894382"/>
              <a:gd name="connsiteY6" fmla="*/ 647700 h 6858000"/>
              <a:gd name="connsiteX7" fmla="*/ 4704922 w 5894382"/>
              <a:gd name="connsiteY7" fmla="*/ 5518735 h 6858000"/>
              <a:gd name="connsiteX8" fmla="*/ 2622144 w 5894382"/>
              <a:gd name="connsiteY8" fmla="*/ 5515364 h 6858000"/>
              <a:gd name="connsiteX9" fmla="*/ 3944247 w 5894382"/>
              <a:gd name="connsiteY9" fmla="*/ 647700 h 6858000"/>
              <a:gd name="connsiteX10" fmla="*/ 2023326 w 5894382"/>
              <a:gd name="connsiteY10" fmla="*/ 0 h 6858000"/>
              <a:gd name="connsiteX11" fmla="*/ 3987107 w 5894382"/>
              <a:gd name="connsiteY11" fmla="*/ 0 h 6858000"/>
              <a:gd name="connsiteX12" fmla="*/ 2673279 w 5894382"/>
              <a:gd name="connsiteY12" fmla="*/ 4855250 h 6858000"/>
              <a:gd name="connsiteX13" fmla="*/ 618100 w 5894382"/>
              <a:gd name="connsiteY13" fmla="*/ 4852348 h 6858000"/>
              <a:gd name="connsiteX14" fmla="*/ 2023326 w 5894382"/>
              <a:gd name="connsiteY1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94382" h="6858000">
                <a:moveTo>
                  <a:pt x="575241" y="4972050"/>
                </a:moveTo>
                <a:lnTo>
                  <a:pt x="2634557" y="4972050"/>
                </a:lnTo>
                <a:lnTo>
                  <a:pt x="2124087" y="6858000"/>
                </a:lnTo>
                <a:lnTo>
                  <a:pt x="0" y="6856080"/>
                </a:lnTo>
                <a:lnTo>
                  <a:pt x="575241" y="4972050"/>
                </a:lnTo>
                <a:close/>
                <a:moveTo>
                  <a:pt x="3944247" y="647700"/>
                </a:moveTo>
                <a:lnTo>
                  <a:pt x="5894382" y="647700"/>
                </a:lnTo>
                <a:lnTo>
                  <a:pt x="4704922" y="5518735"/>
                </a:lnTo>
                <a:lnTo>
                  <a:pt x="2622144" y="5515364"/>
                </a:lnTo>
                <a:lnTo>
                  <a:pt x="3944247" y="647700"/>
                </a:lnTo>
                <a:close/>
                <a:moveTo>
                  <a:pt x="2023326" y="0"/>
                </a:moveTo>
                <a:lnTo>
                  <a:pt x="3987107" y="0"/>
                </a:lnTo>
                <a:lnTo>
                  <a:pt x="2673279" y="4855250"/>
                </a:lnTo>
                <a:cubicBezTo>
                  <a:pt x="2670915" y="4854283"/>
                  <a:pt x="1303160" y="4853315"/>
                  <a:pt x="618100" y="4852348"/>
                </a:cubicBezTo>
                <a:cubicBezTo>
                  <a:pt x="1054663" y="3239448"/>
                  <a:pt x="1586763" y="1612900"/>
                  <a:pt x="2023326" y="0"/>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Autofit/>
          </a:bodyPr>
          <a:lstStyle/>
          <a:p>
            <a:r>
              <a:rPr lang="en-US" err="1"/>
              <a:t>Lisää</a:t>
            </a:r>
            <a:r>
              <a:rPr lang="en-US"/>
              <a:t> </a:t>
            </a:r>
            <a:r>
              <a:rPr lang="en-US" err="1"/>
              <a:t>kuva</a:t>
            </a:r>
            <a:endParaRPr lang="en-US"/>
          </a:p>
        </p:txBody>
      </p:sp>
      <p:sp>
        <p:nvSpPr>
          <p:cNvPr id="10" name="Content Placeholder 4">
            <a:extLst>
              <a:ext uri="{FF2B5EF4-FFF2-40B4-BE49-F238E27FC236}">
                <a16:creationId xmlns:a16="http://schemas.microsoft.com/office/drawing/2014/main" id="{D879FAA7-66AC-7A4E-A93A-3C5F321DA3DF}"/>
              </a:ext>
            </a:extLst>
          </p:cNvPr>
          <p:cNvSpPr>
            <a:spLocks noGrp="1"/>
          </p:cNvSpPr>
          <p:nvPr>
            <p:ph sz="quarter" idx="18" hasCustomPrompt="1"/>
          </p:nvPr>
        </p:nvSpPr>
        <p:spPr>
          <a:xfrm>
            <a:off x="6905948" y="1670035"/>
            <a:ext cx="4747336" cy="4206354"/>
          </a:xfrm>
        </p:spPr>
        <p:txBody>
          <a:bodyPr/>
          <a:lstStyle>
            <a:lvl1pPr>
              <a:buNone/>
              <a:defRPr/>
            </a:lvl1pPr>
            <a:lvl2pPr>
              <a:buNone/>
              <a:defRPr/>
            </a:lvl2pPr>
            <a:lvl3pPr>
              <a:buNone/>
              <a:defRPr/>
            </a:lvl3pPr>
            <a:lvl4pPr>
              <a:buNone/>
              <a:defRPr/>
            </a:lvl4pPr>
            <a:lvl5pPr>
              <a:buNone/>
              <a:defRPr/>
            </a:lvl5pPr>
          </a:lstStyle>
          <a:p>
            <a:pPr lvl="0"/>
            <a:r>
              <a:rPr lang="en-US" err="1"/>
              <a:t>Muokkaa</a:t>
            </a:r>
            <a:r>
              <a:rPr lang="en-US"/>
              <a:t> </a:t>
            </a:r>
            <a:r>
              <a:rPr lang="en-US" err="1"/>
              <a:t>tekstiä</a:t>
            </a:r>
            <a:endParaRPr lang="en-US"/>
          </a:p>
        </p:txBody>
      </p:sp>
      <p:sp>
        <p:nvSpPr>
          <p:cNvPr id="11" name="Title 1">
            <a:extLst>
              <a:ext uri="{FF2B5EF4-FFF2-40B4-BE49-F238E27FC236}">
                <a16:creationId xmlns:a16="http://schemas.microsoft.com/office/drawing/2014/main" id="{3672D9A2-97D3-FD46-88C5-E32A30C5E798}"/>
              </a:ext>
            </a:extLst>
          </p:cNvPr>
          <p:cNvSpPr>
            <a:spLocks noGrp="1"/>
          </p:cNvSpPr>
          <p:nvPr>
            <p:ph type="title" hasCustomPrompt="1"/>
          </p:nvPr>
        </p:nvSpPr>
        <p:spPr>
          <a:xfrm>
            <a:off x="6905948" y="969811"/>
            <a:ext cx="4753509" cy="700223"/>
          </a:xfrm>
        </p:spPr>
        <p:txBody>
          <a:bodyPr anchor="t">
            <a:normAutofit/>
          </a:bodyPr>
          <a:lstStyle>
            <a:lvl1pPr algn="l">
              <a:defRPr sz="2400">
                <a:solidFill>
                  <a:schemeClr val="accent1"/>
                </a:solidFill>
              </a:defRPr>
            </a:lvl1pPr>
          </a:lstStyle>
          <a:p>
            <a:r>
              <a:rPr lang="fi-FI"/>
              <a:t>MUOKKAA TEKSTIÄ</a:t>
            </a:r>
            <a:endParaRPr lang="en-US"/>
          </a:p>
        </p:txBody>
      </p:sp>
    </p:spTree>
    <p:extLst>
      <p:ext uri="{BB962C8B-B14F-4D97-AF65-F5344CB8AC3E}">
        <p14:creationId xmlns:p14="http://schemas.microsoft.com/office/powerpoint/2010/main" val="35311244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tsikko ja sisältö 2">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CFCD60A-1077-824A-99E0-3D59F63D66A6}"/>
              </a:ext>
            </a:extLst>
          </p:cNvPr>
          <p:cNvSpPr>
            <a:spLocks noGrp="1"/>
          </p:cNvSpPr>
          <p:nvPr>
            <p:ph type="title" hasCustomPrompt="1"/>
          </p:nvPr>
        </p:nvSpPr>
        <p:spPr>
          <a:xfrm>
            <a:off x="4622729" y="420005"/>
            <a:ext cx="6990621" cy="1263940"/>
          </a:xfrm>
        </p:spPr>
        <p:txBody>
          <a:bodyPr/>
          <a:lstStyle>
            <a:lvl1pPr>
              <a:defRPr sz="2400">
                <a:solidFill>
                  <a:schemeClr val="accent1"/>
                </a:solidFill>
              </a:defRPr>
            </a:lvl1pPr>
          </a:lstStyle>
          <a:p>
            <a:r>
              <a:rPr lang="en-US"/>
              <a:t>MUOKKAA TEKSTIÄ</a:t>
            </a:r>
            <a:endParaRPr lang="fi-FI"/>
          </a:p>
        </p:txBody>
      </p:sp>
      <p:sp>
        <p:nvSpPr>
          <p:cNvPr id="5" name="Content Placeholder 4">
            <a:extLst>
              <a:ext uri="{FF2B5EF4-FFF2-40B4-BE49-F238E27FC236}">
                <a16:creationId xmlns:a16="http://schemas.microsoft.com/office/drawing/2014/main" id="{8A5A7CDB-DEA7-7D42-9B94-87B14505205A}"/>
              </a:ext>
            </a:extLst>
          </p:cNvPr>
          <p:cNvSpPr>
            <a:spLocks noGrp="1"/>
          </p:cNvSpPr>
          <p:nvPr>
            <p:ph sz="quarter" idx="18" hasCustomPrompt="1"/>
          </p:nvPr>
        </p:nvSpPr>
        <p:spPr>
          <a:xfrm>
            <a:off x="4622729" y="1683946"/>
            <a:ext cx="6982886" cy="4185500"/>
          </a:xfrm>
        </p:spPr>
        <p:txBody>
          <a:bodyPr/>
          <a:lstStyle>
            <a:lvl2pPr>
              <a:defRPr/>
            </a:lvl2pPr>
            <a:lvl3pPr>
              <a:defRPr/>
            </a:lvl3pPr>
            <a:lvl4pPr>
              <a:defRPr/>
            </a:lvl4pPr>
            <a:lvl5pPr>
              <a:defRPr/>
            </a:lvl5pPr>
          </a:lstStyle>
          <a:p>
            <a:pPr lvl="0"/>
            <a:r>
              <a:rPr lang="en-US" err="1"/>
              <a:t>Muokkaa</a:t>
            </a:r>
            <a:r>
              <a:rPr lang="en-US"/>
              <a:t> </a:t>
            </a:r>
            <a:r>
              <a:rPr lang="en-US" err="1"/>
              <a:t>tekstiä</a:t>
            </a:r>
            <a:endParaRPr lang="en-US"/>
          </a:p>
          <a:p>
            <a:pPr lvl="1"/>
            <a:r>
              <a:rPr lang="en-US" err="1"/>
              <a:t>Toinen</a:t>
            </a:r>
            <a:r>
              <a:rPr lang="en-US"/>
              <a:t> </a:t>
            </a:r>
            <a:r>
              <a:rPr lang="en-US" err="1"/>
              <a:t>taso</a:t>
            </a:r>
            <a:endParaRPr lang="en-US"/>
          </a:p>
          <a:p>
            <a:pPr lvl="2"/>
            <a:r>
              <a:rPr lang="en-US" err="1"/>
              <a:t>Kolmas</a:t>
            </a:r>
            <a:r>
              <a:rPr lang="en-US"/>
              <a:t> </a:t>
            </a:r>
            <a:r>
              <a:rPr lang="en-US" err="1"/>
              <a:t>taso</a:t>
            </a:r>
            <a:endParaRPr lang="en-US"/>
          </a:p>
          <a:p>
            <a:pPr lvl="3"/>
            <a:r>
              <a:rPr lang="en-US" err="1"/>
              <a:t>Neljäs</a:t>
            </a:r>
            <a:r>
              <a:rPr lang="en-US"/>
              <a:t> </a:t>
            </a:r>
            <a:r>
              <a:rPr lang="en-US" err="1"/>
              <a:t>taso</a:t>
            </a:r>
            <a:endParaRPr lang="en-US"/>
          </a:p>
          <a:p>
            <a:pPr lvl="4"/>
            <a:r>
              <a:rPr lang="en-US" err="1"/>
              <a:t>Viides</a:t>
            </a:r>
            <a:r>
              <a:rPr lang="en-US"/>
              <a:t> </a:t>
            </a:r>
            <a:r>
              <a:rPr lang="en-US" err="1"/>
              <a:t>taso</a:t>
            </a:r>
            <a:endParaRPr lang="fi-FI"/>
          </a:p>
        </p:txBody>
      </p:sp>
      <p:sp>
        <p:nvSpPr>
          <p:cNvPr id="2" name="Rectangle 1">
            <a:extLst>
              <a:ext uri="{FF2B5EF4-FFF2-40B4-BE49-F238E27FC236}">
                <a16:creationId xmlns:a16="http://schemas.microsoft.com/office/drawing/2014/main" id="{AD3BC4D8-B7CC-784C-9616-613F3A733200}"/>
              </a:ext>
            </a:extLst>
          </p:cNvPr>
          <p:cNvSpPr/>
          <p:nvPr userDrawn="1"/>
        </p:nvSpPr>
        <p:spPr>
          <a:xfrm>
            <a:off x="0" y="0"/>
            <a:ext cx="23241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err="1">
              <a:solidFill>
                <a:schemeClr val="bg1"/>
              </a:solidFill>
              <a:latin typeface="Open Sans" panose="020B0606030504020204" pitchFamily="34" charset="0"/>
              <a:ea typeface="Muli" charset="0"/>
              <a:cs typeface="Muli" charset="0"/>
            </a:endParaRPr>
          </a:p>
        </p:txBody>
      </p:sp>
      <p:sp>
        <p:nvSpPr>
          <p:cNvPr id="6" name="Picture Placeholder 5">
            <a:extLst>
              <a:ext uri="{FF2B5EF4-FFF2-40B4-BE49-F238E27FC236}">
                <a16:creationId xmlns:a16="http://schemas.microsoft.com/office/drawing/2014/main" id="{886F82B0-12D0-4241-9B13-095AF4F491C6}"/>
              </a:ext>
            </a:extLst>
          </p:cNvPr>
          <p:cNvSpPr>
            <a:spLocks noGrp="1"/>
          </p:cNvSpPr>
          <p:nvPr>
            <p:ph type="pic" sz="quarter" idx="11" hasCustomPrompt="1"/>
          </p:nvPr>
        </p:nvSpPr>
        <p:spPr>
          <a:xfrm>
            <a:off x="444500" y="420006"/>
            <a:ext cx="3733800" cy="5449440"/>
          </a:xfrm>
          <a:prstGeom prst="rect">
            <a:avLst/>
          </a:prstGeom>
        </p:spPr>
        <p:txBody>
          <a:bodyPr/>
          <a:lstStyle>
            <a:lvl1pPr>
              <a:buClr>
                <a:schemeClr val="bg1"/>
              </a:buClr>
              <a:defRPr>
                <a:solidFill>
                  <a:schemeClr val="bg1"/>
                </a:solidFill>
              </a:defRPr>
            </a:lvl1pPr>
          </a:lstStyle>
          <a:p>
            <a:r>
              <a:rPr lang="en-US" err="1"/>
              <a:t>Lisää</a:t>
            </a:r>
            <a:r>
              <a:rPr lang="en-US"/>
              <a:t> </a:t>
            </a:r>
            <a:r>
              <a:rPr lang="en-US" err="1"/>
              <a:t>kuva</a:t>
            </a:r>
            <a:endParaRPr lang="en-US"/>
          </a:p>
        </p:txBody>
      </p:sp>
    </p:spTree>
    <p:extLst>
      <p:ext uri="{BB962C8B-B14F-4D97-AF65-F5344CB8AC3E}">
        <p14:creationId xmlns:p14="http://schemas.microsoft.com/office/powerpoint/2010/main" val="3279951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Otsikko ja sisältö 3">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065D2B39-417B-9044-A156-22152C6FB3B9}"/>
              </a:ext>
            </a:extLst>
          </p:cNvPr>
          <p:cNvSpPr>
            <a:spLocks noGrp="1"/>
          </p:cNvSpPr>
          <p:nvPr>
            <p:ph type="pic" sz="quarter" idx="10" hasCustomPrompt="1"/>
          </p:nvPr>
        </p:nvSpPr>
        <p:spPr>
          <a:xfrm>
            <a:off x="586386" y="472515"/>
            <a:ext cx="5726806" cy="5396528"/>
          </a:xfrm>
        </p:spPr>
        <p:txBody>
          <a:bodyPr/>
          <a:lstStyle/>
          <a:p>
            <a:r>
              <a:rPr lang="fi-FI"/>
              <a:t>Lisää kuva</a:t>
            </a:r>
          </a:p>
        </p:txBody>
      </p:sp>
      <p:sp>
        <p:nvSpPr>
          <p:cNvPr id="12" name="Content Placeholder 4">
            <a:extLst>
              <a:ext uri="{FF2B5EF4-FFF2-40B4-BE49-F238E27FC236}">
                <a16:creationId xmlns:a16="http://schemas.microsoft.com/office/drawing/2014/main" id="{A35303C0-09EA-E64B-9611-11F9337FB282}"/>
              </a:ext>
            </a:extLst>
          </p:cNvPr>
          <p:cNvSpPr>
            <a:spLocks noGrp="1"/>
          </p:cNvSpPr>
          <p:nvPr>
            <p:ph sz="quarter" idx="18" hasCustomPrompt="1"/>
          </p:nvPr>
        </p:nvSpPr>
        <p:spPr>
          <a:xfrm>
            <a:off x="6743699" y="1738265"/>
            <a:ext cx="4861915" cy="4130778"/>
          </a:xfrm>
        </p:spPr>
        <p:txBody>
          <a:bodyPr/>
          <a:lstStyle>
            <a:lvl2pPr>
              <a:defRPr/>
            </a:lvl2pPr>
            <a:lvl3pPr>
              <a:defRPr/>
            </a:lvl3pPr>
            <a:lvl4pPr>
              <a:defRPr/>
            </a:lvl4pPr>
            <a:lvl5pPr>
              <a:defRPr/>
            </a:lvl5pPr>
          </a:lstStyle>
          <a:p>
            <a:pPr lvl="0"/>
            <a:r>
              <a:rPr lang="en-US" err="1"/>
              <a:t>Muokkaa</a:t>
            </a:r>
            <a:r>
              <a:rPr lang="en-US"/>
              <a:t> </a:t>
            </a:r>
            <a:r>
              <a:rPr lang="en-US" err="1"/>
              <a:t>tekstiä</a:t>
            </a:r>
            <a:endParaRPr lang="en-US"/>
          </a:p>
          <a:p>
            <a:pPr lvl="1"/>
            <a:r>
              <a:rPr lang="en-US" err="1"/>
              <a:t>Toinen</a:t>
            </a:r>
            <a:r>
              <a:rPr lang="en-US"/>
              <a:t> </a:t>
            </a:r>
            <a:r>
              <a:rPr lang="en-US" err="1"/>
              <a:t>taso</a:t>
            </a:r>
            <a:endParaRPr lang="en-US"/>
          </a:p>
          <a:p>
            <a:pPr lvl="2"/>
            <a:r>
              <a:rPr lang="en-US" err="1"/>
              <a:t>Kolmas</a:t>
            </a:r>
            <a:r>
              <a:rPr lang="en-US"/>
              <a:t> </a:t>
            </a:r>
            <a:r>
              <a:rPr lang="en-US" err="1"/>
              <a:t>taso</a:t>
            </a:r>
            <a:endParaRPr lang="en-US"/>
          </a:p>
          <a:p>
            <a:pPr lvl="3"/>
            <a:r>
              <a:rPr lang="en-US" err="1"/>
              <a:t>Neljäs</a:t>
            </a:r>
            <a:r>
              <a:rPr lang="en-US"/>
              <a:t> </a:t>
            </a:r>
            <a:r>
              <a:rPr lang="en-US" err="1"/>
              <a:t>taso</a:t>
            </a:r>
            <a:endParaRPr lang="en-US"/>
          </a:p>
          <a:p>
            <a:pPr lvl="4"/>
            <a:r>
              <a:rPr lang="en-US" err="1"/>
              <a:t>Viides</a:t>
            </a:r>
            <a:r>
              <a:rPr lang="en-US"/>
              <a:t> </a:t>
            </a:r>
            <a:r>
              <a:rPr lang="en-US" err="1"/>
              <a:t>taso</a:t>
            </a:r>
            <a:endParaRPr lang="fi-FI"/>
          </a:p>
        </p:txBody>
      </p:sp>
      <p:sp>
        <p:nvSpPr>
          <p:cNvPr id="4" name="Title 3">
            <a:extLst>
              <a:ext uri="{FF2B5EF4-FFF2-40B4-BE49-F238E27FC236}">
                <a16:creationId xmlns:a16="http://schemas.microsoft.com/office/drawing/2014/main" id="{5CD1A648-46DF-664F-8524-5011A8CE0D8B}"/>
              </a:ext>
            </a:extLst>
          </p:cNvPr>
          <p:cNvSpPr>
            <a:spLocks noGrp="1"/>
          </p:cNvSpPr>
          <p:nvPr>
            <p:ph type="title" hasCustomPrompt="1"/>
          </p:nvPr>
        </p:nvSpPr>
        <p:spPr>
          <a:xfrm>
            <a:off x="6743699" y="472515"/>
            <a:ext cx="4861915" cy="1265750"/>
          </a:xfrm>
        </p:spPr>
        <p:txBody>
          <a:bodyPr/>
          <a:lstStyle>
            <a:lvl1pPr>
              <a:defRPr sz="2400">
                <a:solidFill>
                  <a:schemeClr val="accent1"/>
                </a:solidFill>
              </a:defRPr>
            </a:lvl1pPr>
          </a:lstStyle>
          <a:p>
            <a:r>
              <a:rPr lang="en-US"/>
              <a:t>MUOKKAA TEKSTIÄ</a:t>
            </a:r>
            <a:endParaRPr lang="fi-FI"/>
          </a:p>
        </p:txBody>
      </p:sp>
      <p:sp>
        <p:nvSpPr>
          <p:cNvPr id="8" name="Date Placeholder 2">
            <a:extLst>
              <a:ext uri="{FF2B5EF4-FFF2-40B4-BE49-F238E27FC236}">
                <a16:creationId xmlns:a16="http://schemas.microsoft.com/office/drawing/2014/main" id="{CBCBB4EE-A814-B544-93EB-AE1FFB4D5A81}"/>
              </a:ext>
            </a:extLst>
          </p:cNvPr>
          <p:cNvSpPr>
            <a:spLocks noGrp="1"/>
          </p:cNvSpPr>
          <p:nvPr>
            <p:ph type="dt" sz="half" idx="2"/>
          </p:nvPr>
        </p:nvSpPr>
        <p:spPr>
          <a:xfrm>
            <a:off x="1298279" y="6559865"/>
            <a:ext cx="2740321" cy="141878"/>
          </a:xfrm>
          <a:prstGeom prst="rect">
            <a:avLst/>
          </a:prstGeom>
        </p:spPr>
        <p:txBody>
          <a:bodyPr vert="horz" lIns="91440" tIns="45720" rIns="91440" bIns="45720" rtlCol="0" anchor="ctr"/>
          <a:lstStyle>
            <a:lvl1pPr algn="l">
              <a:defRPr sz="900">
                <a:solidFill>
                  <a:schemeClr val="tx2"/>
                </a:solidFill>
              </a:defRPr>
            </a:lvl1pPr>
          </a:lstStyle>
          <a:p>
            <a:fld id="{334958C0-7F15-3D46-832C-7A2915FA0065}" type="datetime1">
              <a:rPr lang="fi-FI" smtClean="0"/>
              <a:t>29.4.2022</a:t>
            </a:fld>
            <a:endParaRPr lang="fi-FI"/>
          </a:p>
        </p:txBody>
      </p:sp>
      <p:sp>
        <p:nvSpPr>
          <p:cNvPr id="6" name="Alatunnisteen paikkamerkki 1">
            <a:extLst>
              <a:ext uri="{FF2B5EF4-FFF2-40B4-BE49-F238E27FC236}">
                <a16:creationId xmlns:a16="http://schemas.microsoft.com/office/drawing/2014/main" id="{3BCF701D-AF0D-5B48-BAA4-875F3C8BF0AF}"/>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a:solidFill>
                  <a:schemeClr val="accent3"/>
                </a:solidFill>
              </a:defRPr>
            </a:lvl1pPr>
          </a:lstStyle>
          <a:p>
            <a:endParaRPr lang="fi-FI"/>
          </a:p>
        </p:txBody>
      </p:sp>
    </p:spTree>
    <p:extLst>
      <p:ext uri="{BB962C8B-B14F-4D97-AF65-F5344CB8AC3E}">
        <p14:creationId xmlns:p14="http://schemas.microsoft.com/office/powerpoint/2010/main" val="7230351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äliotsikko_1">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065D2B39-417B-9044-A156-22152C6FB3B9}"/>
              </a:ext>
            </a:extLst>
          </p:cNvPr>
          <p:cNvSpPr>
            <a:spLocks noGrp="1"/>
          </p:cNvSpPr>
          <p:nvPr>
            <p:ph type="pic" sz="quarter" idx="10" hasCustomPrompt="1"/>
          </p:nvPr>
        </p:nvSpPr>
        <p:spPr>
          <a:xfrm>
            <a:off x="994127" y="575586"/>
            <a:ext cx="1574902" cy="1577659"/>
          </a:xfrm>
        </p:spPr>
        <p:txBody>
          <a:bodyPr/>
          <a:lstStyle/>
          <a:p>
            <a:r>
              <a:rPr lang="fi-FI"/>
              <a:t>Lisää kuva</a:t>
            </a:r>
          </a:p>
        </p:txBody>
      </p:sp>
      <p:sp>
        <p:nvSpPr>
          <p:cNvPr id="14" name="Text Placeholder 7">
            <a:extLst>
              <a:ext uri="{FF2B5EF4-FFF2-40B4-BE49-F238E27FC236}">
                <a16:creationId xmlns:a16="http://schemas.microsoft.com/office/drawing/2014/main" id="{98878EB6-6D49-E84E-AA78-0AFE61F8B67A}"/>
              </a:ext>
            </a:extLst>
          </p:cNvPr>
          <p:cNvSpPr>
            <a:spLocks noGrp="1"/>
          </p:cNvSpPr>
          <p:nvPr>
            <p:ph type="body" sz="quarter" idx="13" hasCustomPrompt="1"/>
          </p:nvPr>
        </p:nvSpPr>
        <p:spPr>
          <a:xfrm>
            <a:off x="2743202" y="958178"/>
            <a:ext cx="2917408" cy="816424"/>
          </a:xfrm>
          <a:prstGeom prst="rect">
            <a:avLst/>
          </a:prstGeom>
        </p:spPr>
        <p:txBody>
          <a:bodyPr/>
          <a:lstStyle>
            <a:lvl1pPr marL="0" indent="0" algn="l">
              <a:lnSpc>
                <a:spcPct val="85000"/>
              </a:lnSpc>
              <a:buNone/>
              <a:defRPr sz="1800">
                <a:solidFill>
                  <a:schemeClr val="accent3"/>
                </a:solidFill>
              </a:defRPr>
            </a:lvl1pPr>
          </a:lstStyle>
          <a:p>
            <a:pPr lvl="0"/>
            <a:r>
              <a:rPr lang="fi-FI"/>
              <a:t>Muokkaa tekstiä</a:t>
            </a:r>
          </a:p>
        </p:txBody>
      </p:sp>
      <p:sp>
        <p:nvSpPr>
          <p:cNvPr id="7" name="Picture Placeholder 1">
            <a:extLst>
              <a:ext uri="{FF2B5EF4-FFF2-40B4-BE49-F238E27FC236}">
                <a16:creationId xmlns:a16="http://schemas.microsoft.com/office/drawing/2014/main" id="{F3374883-4626-8947-97D7-571D06B280B3}"/>
              </a:ext>
            </a:extLst>
          </p:cNvPr>
          <p:cNvSpPr>
            <a:spLocks noGrp="1"/>
          </p:cNvSpPr>
          <p:nvPr>
            <p:ph type="pic" sz="quarter" idx="14" hasCustomPrompt="1"/>
          </p:nvPr>
        </p:nvSpPr>
        <p:spPr>
          <a:xfrm>
            <a:off x="994127" y="2542510"/>
            <a:ext cx="1574902" cy="1577659"/>
          </a:xfrm>
        </p:spPr>
        <p:txBody>
          <a:bodyPr/>
          <a:lstStyle/>
          <a:p>
            <a:r>
              <a:rPr lang="fi-FI"/>
              <a:t>Lisää kuva</a:t>
            </a:r>
          </a:p>
        </p:txBody>
      </p:sp>
      <p:sp>
        <p:nvSpPr>
          <p:cNvPr id="11" name="Picture Placeholder 1">
            <a:extLst>
              <a:ext uri="{FF2B5EF4-FFF2-40B4-BE49-F238E27FC236}">
                <a16:creationId xmlns:a16="http://schemas.microsoft.com/office/drawing/2014/main" id="{381CB899-1520-4448-AF69-67B4D264BDAB}"/>
              </a:ext>
            </a:extLst>
          </p:cNvPr>
          <p:cNvSpPr>
            <a:spLocks noGrp="1"/>
          </p:cNvSpPr>
          <p:nvPr>
            <p:ph type="pic" sz="quarter" idx="15" hasCustomPrompt="1"/>
          </p:nvPr>
        </p:nvSpPr>
        <p:spPr>
          <a:xfrm>
            <a:off x="994127" y="4509434"/>
            <a:ext cx="1574902" cy="1577659"/>
          </a:xfrm>
        </p:spPr>
        <p:txBody>
          <a:bodyPr/>
          <a:lstStyle/>
          <a:p>
            <a:r>
              <a:rPr lang="fi-FI"/>
              <a:t>Lisää kuva</a:t>
            </a:r>
          </a:p>
        </p:txBody>
      </p:sp>
      <p:sp>
        <p:nvSpPr>
          <p:cNvPr id="15" name="Text Placeholder 7">
            <a:extLst>
              <a:ext uri="{FF2B5EF4-FFF2-40B4-BE49-F238E27FC236}">
                <a16:creationId xmlns:a16="http://schemas.microsoft.com/office/drawing/2014/main" id="{DDFDEB38-D808-B441-BCA1-5682BF357FCB}"/>
              </a:ext>
            </a:extLst>
          </p:cNvPr>
          <p:cNvSpPr>
            <a:spLocks noGrp="1"/>
          </p:cNvSpPr>
          <p:nvPr>
            <p:ph type="body" sz="quarter" idx="16" hasCustomPrompt="1"/>
          </p:nvPr>
        </p:nvSpPr>
        <p:spPr>
          <a:xfrm>
            <a:off x="2743164" y="2925102"/>
            <a:ext cx="2917408" cy="816424"/>
          </a:xfrm>
          <a:prstGeom prst="rect">
            <a:avLst/>
          </a:prstGeom>
        </p:spPr>
        <p:txBody>
          <a:bodyPr/>
          <a:lstStyle>
            <a:lvl1pPr marL="0" indent="0" algn="l">
              <a:lnSpc>
                <a:spcPct val="85000"/>
              </a:lnSpc>
              <a:buNone/>
              <a:defRPr sz="1800">
                <a:solidFill>
                  <a:schemeClr val="accent3"/>
                </a:solidFill>
              </a:defRPr>
            </a:lvl1pPr>
          </a:lstStyle>
          <a:p>
            <a:pPr lvl="0"/>
            <a:r>
              <a:rPr lang="fi-FI"/>
              <a:t>Muokkaa tekstiä</a:t>
            </a:r>
          </a:p>
        </p:txBody>
      </p:sp>
      <p:sp>
        <p:nvSpPr>
          <p:cNvPr id="17" name="Text Placeholder 7">
            <a:extLst>
              <a:ext uri="{FF2B5EF4-FFF2-40B4-BE49-F238E27FC236}">
                <a16:creationId xmlns:a16="http://schemas.microsoft.com/office/drawing/2014/main" id="{3122B655-A3DC-624A-9AB3-4B1D00F64DA3}"/>
              </a:ext>
            </a:extLst>
          </p:cNvPr>
          <p:cNvSpPr>
            <a:spLocks noGrp="1"/>
          </p:cNvSpPr>
          <p:nvPr>
            <p:ph type="body" sz="quarter" idx="17" hasCustomPrompt="1"/>
          </p:nvPr>
        </p:nvSpPr>
        <p:spPr>
          <a:xfrm>
            <a:off x="2743164" y="4892026"/>
            <a:ext cx="2917408" cy="816424"/>
          </a:xfrm>
          <a:prstGeom prst="rect">
            <a:avLst/>
          </a:prstGeom>
        </p:spPr>
        <p:txBody>
          <a:bodyPr/>
          <a:lstStyle>
            <a:lvl1pPr marL="0" indent="0" algn="l">
              <a:lnSpc>
                <a:spcPct val="85000"/>
              </a:lnSpc>
              <a:buNone/>
              <a:defRPr sz="1800">
                <a:solidFill>
                  <a:schemeClr val="accent3"/>
                </a:solidFill>
              </a:defRPr>
            </a:lvl1pPr>
          </a:lstStyle>
          <a:p>
            <a:pPr lvl="0"/>
            <a:r>
              <a:rPr lang="fi-FI"/>
              <a:t>Muokkaa tekstiä</a:t>
            </a:r>
          </a:p>
        </p:txBody>
      </p:sp>
      <p:sp>
        <p:nvSpPr>
          <p:cNvPr id="18" name="Picture Placeholder 1">
            <a:extLst>
              <a:ext uri="{FF2B5EF4-FFF2-40B4-BE49-F238E27FC236}">
                <a16:creationId xmlns:a16="http://schemas.microsoft.com/office/drawing/2014/main" id="{13AB3EA4-1FE0-434D-BF3C-A7EF7931240F}"/>
              </a:ext>
            </a:extLst>
          </p:cNvPr>
          <p:cNvSpPr>
            <a:spLocks noGrp="1"/>
          </p:cNvSpPr>
          <p:nvPr>
            <p:ph type="pic" sz="quarter" idx="18" hasCustomPrompt="1"/>
          </p:nvPr>
        </p:nvSpPr>
        <p:spPr>
          <a:xfrm>
            <a:off x="6531390" y="615210"/>
            <a:ext cx="1574902" cy="1577659"/>
          </a:xfrm>
        </p:spPr>
        <p:txBody>
          <a:bodyPr/>
          <a:lstStyle/>
          <a:p>
            <a:r>
              <a:rPr lang="fi-FI"/>
              <a:t>Lisää kuva</a:t>
            </a:r>
          </a:p>
        </p:txBody>
      </p:sp>
      <p:sp>
        <p:nvSpPr>
          <p:cNvPr id="20" name="Text Placeholder 7">
            <a:extLst>
              <a:ext uri="{FF2B5EF4-FFF2-40B4-BE49-F238E27FC236}">
                <a16:creationId xmlns:a16="http://schemas.microsoft.com/office/drawing/2014/main" id="{AE96E46C-0F54-1E46-979B-0BAAAE832C31}"/>
              </a:ext>
            </a:extLst>
          </p:cNvPr>
          <p:cNvSpPr>
            <a:spLocks noGrp="1"/>
          </p:cNvSpPr>
          <p:nvPr>
            <p:ph type="body" sz="quarter" idx="19" hasCustomPrompt="1"/>
          </p:nvPr>
        </p:nvSpPr>
        <p:spPr>
          <a:xfrm>
            <a:off x="8280465" y="997802"/>
            <a:ext cx="2917408" cy="816424"/>
          </a:xfrm>
          <a:prstGeom prst="rect">
            <a:avLst/>
          </a:prstGeom>
        </p:spPr>
        <p:txBody>
          <a:bodyPr/>
          <a:lstStyle>
            <a:lvl1pPr marL="0" indent="0" algn="l">
              <a:lnSpc>
                <a:spcPct val="85000"/>
              </a:lnSpc>
              <a:buNone/>
              <a:defRPr sz="1800">
                <a:solidFill>
                  <a:schemeClr val="accent3"/>
                </a:solidFill>
              </a:defRPr>
            </a:lvl1pPr>
          </a:lstStyle>
          <a:p>
            <a:pPr lvl="0"/>
            <a:r>
              <a:rPr lang="fi-FI"/>
              <a:t>Muokkaa tekstiä</a:t>
            </a:r>
          </a:p>
        </p:txBody>
      </p:sp>
      <p:sp>
        <p:nvSpPr>
          <p:cNvPr id="21" name="Picture Placeholder 1">
            <a:extLst>
              <a:ext uri="{FF2B5EF4-FFF2-40B4-BE49-F238E27FC236}">
                <a16:creationId xmlns:a16="http://schemas.microsoft.com/office/drawing/2014/main" id="{7B98B0DE-0115-D44E-B179-FD33F137ED10}"/>
              </a:ext>
            </a:extLst>
          </p:cNvPr>
          <p:cNvSpPr>
            <a:spLocks noGrp="1"/>
          </p:cNvSpPr>
          <p:nvPr>
            <p:ph type="pic" sz="quarter" idx="20" hasCustomPrompt="1"/>
          </p:nvPr>
        </p:nvSpPr>
        <p:spPr>
          <a:xfrm>
            <a:off x="6531390" y="2582134"/>
            <a:ext cx="1574902" cy="1577659"/>
          </a:xfrm>
        </p:spPr>
        <p:txBody>
          <a:bodyPr/>
          <a:lstStyle/>
          <a:p>
            <a:r>
              <a:rPr lang="fi-FI"/>
              <a:t>Lisää kuva</a:t>
            </a:r>
          </a:p>
        </p:txBody>
      </p:sp>
      <p:sp>
        <p:nvSpPr>
          <p:cNvPr id="22" name="Picture Placeholder 1">
            <a:extLst>
              <a:ext uri="{FF2B5EF4-FFF2-40B4-BE49-F238E27FC236}">
                <a16:creationId xmlns:a16="http://schemas.microsoft.com/office/drawing/2014/main" id="{3C88CA89-BD60-C34B-8811-128287E75ABD}"/>
              </a:ext>
            </a:extLst>
          </p:cNvPr>
          <p:cNvSpPr>
            <a:spLocks noGrp="1"/>
          </p:cNvSpPr>
          <p:nvPr>
            <p:ph type="pic" sz="quarter" idx="21" hasCustomPrompt="1"/>
          </p:nvPr>
        </p:nvSpPr>
        <p:spPr>
          <a:xfrm>
            <a:off x="6531390" y="4549058"/>
            <a:ext cx="1574902" cy="1577659"/>
          </a:xfrm>
        </p:spPr>
        <p:txBody>
          <a:bodyPr/>
          <a:lstStyle/>
          <a:p>
            <a:r>
              <a:rPr lang="fi-FI"/>
              <a:t>Lisää kuva</a:t>
            </a:r>
          </a:p>
        </p:txBody>
      </p:sp>
      <p:sp>
        <p:nvSpPr>
          <p:cNvPr id="24" name="Text Placeholder 7">
            <a:extLst>
              <a:ext uri="{FF2B5EF4-FFF2-40B4-BE49-F238E27FC236}">
                <a16:creationId xmlns:a16="http://schemas.microsoft.com/office/drawing/2014/main" id="{2E3A260A-69F0-FF4C-8F9B-2E0745EE840C}"/>
              </a:ext>
            </a:extLst>
          </p:cNvPr>
          <p:cNvSpPr>
            <a:spLocks noGrp="1"/>
          </p:cNvSpPr>
          <p:nvPr>
            <p:ph type="body" sz="quarter" idx="22" hasCustomPrompt="1"/>
          </p:nvPr>
        </p:nvSpPr>
        <p:spPr>
          <a:xfrm>
            <a:off x="8280427" y="2964726"/>
            <a:ext cx="2917408" cy="816424"/>
          </a:xfrm>
          <a:prstGeom prst="rect">
            <a:avLst/>
          </a:prstGeom>
        </p:spPr>
        <p:txBody>
          <a:bodyPr/>
          <a:lstStyle>
            <a:lvl1pPr marL="0" indent="0" algn="l">
              <a:lnSpc>
                <a:spcPct val="85000"/>
              </a:lnSpc>
              <a:buNone/>
              <a:defRPr sz="1800">
                <a:solidFill>
                  <a:schemeClr val="accent3"/>
                </a:solidFill>
              </a:defRPr>
            </a:lvl1pPr>
          </a:lstStyle>
          <a:p>
            <a:pPr lvl="0"/>
            <a:r>
              <a:rPr lang="fi-FI"/>
              <a:t>Muokkaa tekstiä</a:t>
            </a:r>
          </a:p>
        </p:txBody>
      </p:sp>
      <p:sp>
        <p:nvSpPr>
          <p:cNvPr id="26" name="Text Placeholder 7">
            <a:extLst>
              <a:ext uri="{FF2B5EF4-FFF2-40B4-BE49-F238E27FC236}">
                <a16:creationId xmlns:a16="http://schemas.microsoft.com/office/drawing/2014/main" id="{C0511BD0-E927-2C42-B9C0-11ABE318A13D}"/>
              </a:ext>
            </a:extLst>
          </p:cNvPr>
          <p:cNvSpPr>
            <a:spLocks noGrp="1"/>
          </p:cNvSpPr>
          <p:nvPr>
            <p:ph type="body" sz="quarter" idx="23" hasCustomPrompt="1"/>
          </p:nvPr>
        </p:nvSpPr>
        <p:spPr>
          <a:xfrm>
            <a:off x="8280427" y="4931650"/>
            <a:ext cx="2917408" cy="816424"/>
          </a:xfrm>
          <a:prstGeom prst="rect">
            <a:avLst/>
          </a:prstGeom>
        </p:spPr>
        <p:txBody>
          <a:bodyPr/>
          <a:lstStyle>
            <a:lvl1pPr marL="0" indent="0" algn="l">
              <a:lnSpc>
                <a:spcPct val="85000"/>
              </a:lnSpc>
              <a:buNone/>
              <a:defRPr sz="1800">
                <a:solidFill>
                  <a:schemeClr val="accent3"/>
                </a:solidFill>
              </a:defRPr>
            </a:lvl1pPr>
          </a:lstStyle>
          <a:p>
            <a:pPr lvl="0"/>
            <a:r>
              <a:rPr lang="fi-FI"/>
              <a:t>Muokkaa tekstiä</a:t>
            </a:r>
          </a:p>
        </p:txBody>
      </p:sp>
      <p:sp>
        <p:nvSpPr>
          <p:cNvPr id="16" name="Date Placeholder 2">
            <a:extLst>
              <a:ext uri="{FF2B5EF4-FFF2-40B4-BE49-F238E27FC236}">
                <a16:creationId xmlns:a16="http://schemas.microsoft.com/office/drawing/2014/main" id="{DFA17E3C-1E8E-2A47-A5D9-A43E362445FB}"/>
              </a:ext>
            </a:extLst>
          </p:cNvPr>
          <p:cNvSpPr>
            <a:spLocks noGrp="1"/>
          </p:cNvSpPr>
          <p:nvPr>
            <p:ph type="dt" sz="half" idx="2"/>
          </p:nvPr>
        </p:nvSpPr>
        <p:spPr>
          <a:xfrm>
            <a:off x="1298279" y="6559865"/>
            <a:ext cx="2740321" cy="141878"/>
          </a:xfrm>
          <a:prstGeom prst="rect">
            <a:avLst/>
          </a:prstGeom>
        </p:spPr>
        <p:txBody>
          <a:bodyPr vert="horz" lIns="91440" tIns="45720" rIns="91440" bIns="45720" rtlCol="0" anchor="ctr"/>
          <a:lstStyle>
            <a:lvl1pPr algn="l">
              <a:defRPr sz="900">
                <a:solidFill>
                  <a:schemeClr val="tx2"/>
                </a:solidFill>
              </a:defRPr>
            </a:lvl1pPr>
          </a:lstStyle>
          <a:p>
            <a:fld id="{C5BB0B07-C9DE-3749-9D69-77BB7A22F64A}" type="datetime1">
              <a:rPr lang="fi-FI" smtClean="0"/>
              <a:t>29.4.2022</a:t>
            </a:fld>
            <a:endParaRPr lang="fi-FI"/>
          </a:p>
        </p:txBody>
      </p:sp>
      <p:sp>
        <p:nvSpPr>
          <p:cNvPr id="19" name="Alatunnisteen paikkamerkki 1">
            <a:extLst>
              <a:ext uri="{FF2B5EF4-FFF2-40B4-BE49-F238E27FC236}">
                <a16:creationId xmlns:a16="http://schemas.microsoft.com/office/drawing/2014/main" id="{7CC7085C-E686-2C4C-B735-B53E404715FB}"/>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a:solidFill>
                  <a:schemeClr val="accent3"/>
                </a:solidFill>
              </a:defRPr>
            </a:lvl1pPr>
          </a:lstStyle>
          <a:p>
            <a:endParaRPr lang="fi-FI"/>
          </a:p>
        </p:txBody>
      </p:sp>
    </p:spTree>
    <p:extLst>
      <p:ext uri="{BB962C8B-B14F-4D97-AF65-F5344CB8AC3E}">
        <p14:creationId xmlns:p14="http://schemas.microsoft.com/office/powerpoint/2010/main" val="32267717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uva ja teksti 6">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065D2B39-417B-9044-A156-22152C6FB3B9}"/>
              </a:ext>
            </a:extLst>
          </p:cNvPr>
          <p:cNvSpPr>
            <a:spLocks noGrp="1"/>
          </p:cNvSpPr>
          <p:nvPr>
            <p:ph type="pic" sz="quarter" idx="10" hasCustomPrompt="1"/>
          </p:nvPr>
        </p:nvSpPr>
        <p:spPr>
          <a:xfrm>
            <a:off x="6830010" y="472488"/>
            <a:ext cx="4825056" cy="2664000"/>
          </a:xfrm>
        </p:spPr>
        <p:txBody>
          <a:bodyPr/>
          <a:lstStyle/>
          <a:p>
            <a:r>
              <a:rPr lang="fi-FI"/>
              <a:t>Lisää kuva</a:t>
            </a:r>
          </a:p>
        </p:txBody>
      </p:sp>
      <p:sp>
        <p:nvSpPr>
          <p:cNvPr id="15" name="Content Placeholder 4">
            <a:extLst>
              <a:ext uri="{FF2B5EF4-FFF2-40B4-BE49-F238E27FC236}">
                <a16:creationId xmlns:a16="http://schemas.microsoft.com/office/drawing/2014/main" id="{6602693C-A3A5-C444-8498-B40FEC3F2BE1}"/>
              </a:ext>
            </a:extLst>
          </p:cNvPr>
          <p:cNvSpPr>
            <a:spLocks noGrp="1"/>
          </p:cNvSpPr>
          <p:nvPr>
            <p:ph sz="quarter" idx="18" hasCustomPrompt="1"/>
          </p:nvPr>
        </p:nvSpPr>
        <p:spPr>
          <a:xfrm>
            <a:off x="612774" y="1778000"/>
            <a:ext cx="5483226" cy="4089796"/>
          </a:xfrm>
        </p:spPr>
        <p:txBody>
          <a:bodyPr/>
          <a:lstStyle>
            <a:lvl2pPr>
              <a:defRPr/>
            </a:lvl2pPr>
            <a:lvl3pPr>
              <a:defRPr/>
            </a:lvl3pPr>
            <a:lvl4pPr>
              <a:defRPr/>
            </a:lvl4pPr>
            <a:lvl5pPr>
              <a:defRPr/>
            </a:lvl5pPr>
          </a:lstStyle>
          <a:p>
            <a:pPr lvl="0"/>
            <a:r>
              <a:rPr lang="en-US" err="1"/>
              <a:t>Muokkaa</a:t>
            </a:r>
            <a:r>
              <a:rPr lang="en-US"/>
              <a:t> </a:t>
            </a:r>
            <a:r>
              <a:rPr lang="en-US" err="1"/>
              <a:t>tekstiä</a:t>
            </a:r>
            <a:endParaRPr lang="en-US"/>
          </a:p>
          <a:p>
            <a:pPr lvl="1"/>
            <a:r>
              <a:rPr lang="en-US" err="1"/>
              <a:t>Toinen</a:t>
            </a:r>
            <a:r>
              <a:rPr lang="en-US"/>
              <a:t> </a:t>
            </a:r>
            <a:r>
              <a:rPr lang="en-US" err="1"/>
              <a:t>taso</a:t>
            </a:r>
            <a:endParaRPr lang="en-US"/>
          </a:p>
          <a:p>
            <a:pPr lvl="2"/>
            <a:r>
              <a:rPr lang="en-US" err="1"/>
              <a:t>Kolmas</a:t>
            </a:r>
            <a:r>
              <a:rPr lang="en-US"/>
              <a:t> </a:t>
            </a:r>
            <a:r>
              <a:rPr lang="en-US" err="1"/>
              <a:t>taso</a:t>
            </a:r>
            <a:endParaRPr lang="en-US"/>
          </a:p>
          <a:p>
            <a:pPr lvl="3"/>
            <a:r>
              <a:rPr lang="en-US" err="1"/>
              <a:t>Neljäs</a:t>
            </a:r>
            <a:r>
              <a:rPr lang="en-US"/>
              <a:t> </a:t>
            </a:r>
            <a:r>
              <a:rPr lang="en-US" err="1"/>
              <a:t>taso</a:t>
            </a:r>
            <a:endParaRPr lang="en-US"/>
          </a:p>
          <a:p>
            <a:pPr lvl="4"/>
            <a:r>
              <a:rPr lang="en-US" err="1"/>
              <a:t>Viides</a:t>
            </a:r>
            <a:r>
              <a:rPr lang="en-US"/>
              <a:t> </a:t>
            </a:r>
            <a:r>
              <a:rPr lang="en-US" err="1"/>
              <a:t>taso</a:t>
            </a:r>
            <a:endParaRPr lang="fi-FI"/>
          </a:p>
        </p:txBody>
      </p:sp>
      <p:sp>
        <p:nvSpPr>
          <p:cNvPr id="4" name="Title 3">
            <a:extLst>
              <a:ext uri="{FF2B5EF4-FFF2-40B4-BE49-F238E27FC236}">
                <a16:creationId xmlns:a16="http://schemas.microsoft.com/office/drawing/2014/main" id="{319B72C7-381F-C141-B86E-1F4DA1F94D52}"/>
              </a:ext>
            </a:extLst>
          </p:cNvPr>
          <p:cNvSpPr>
            <a:spLocks noGrp="1"/>
          </p:cNvSpPr>
          <p:nvPr>
            <p:ph type="title" hasCustomPrompt="1"/>
          </p:nvPr>
        </p:nvSpPr>
        <p:spPr>
          <a:xfrm>
            <a:off x="612774" y="472515"/>
            <a:ext cx="5483225" cy="1265749"/>
          </a:xfrm>
        </p:spPr>
        <p:txBody>
          <a:bodyPr/>
          <a:lstStyle>
            <a:lvl1pPr>
              <a:defRPr sz="2400">
                <a:solidFill>
                  <a:schemeClr val="accent1"/>
                </a:solidFill>
              </a:defRPr>
            </a:lvl1pPr>
          </a:lstStyle>
          <a:p>
            <a:r>
              <a:rPr lang="en-US"/>
              <a:t>MUOKKAA TEKSTIÄ</a:t>
            </a:r>
            <a:endParaRPr lang="fi-FI"/>
          </a:p>
        </p:txBody>
      </p:sp>
      <p:sp>
        <p:nvSpPr>
          <p:cNvPr id="10" name="Date Placeholder 2">
            <a:extLst>
              <a:ext uri="{FF2B5EF4-FFF2-40B4-BE49-F238E27FC236}">
                <a16:creationId xmlns:a16="http://schemas.microsoft.com/office/drawing/2014/main" id="{DAFAD629-0B75-9F4B-90CB-CA4D8B16529D}"/>
              </a:ext>
            </a:extLst>
          </p:cNvPr>
          <p:cNvSpPr>
            <a:spLocks noGrp="1"/>
          </p:cNvSpPr>
          <p:nvPr>
            <p:ph type="dt" sz="half" idx="2"/>
          </p:nvPr>
        </p:nvSpPr>
        <p:spPr>
          <a:xfrm>
            <a:off x="1298279" y="6559865"/>
            <a:ext cx="2740321" cy="141878"/>
          </a:xfrm>
          <a:prstGeom prst="rect">
            <a:avLst/>
          </a:prstGeom>
        </p:spPr>
        <p:txBody>
          <a:bodyPr vert="horz" lIns="91440" tIns="45720" rIns="91440" bIns="45720" rtlCol="0" anchor="ctr"/>
          <a:lstStyle>
            <a:lvl1pPr algn="l">
              <a:defRPr sz="900">
                <a:solidFill>
                  <a:schemeClr val="tx2"/>
                </a:solidFill>
              </a:defRPr>
            </a:lvl1pPr>
          </a:lstStyle>
          <a:p>
            <a:fld id="{8F209B35-079B-D842-A890-684BFD9E47C1}" type="datetime1">
              <a:rPr lang="fi-FI" smtClean="0"/>
              <a:t>29.4.2022</a:t>
            </a:fld>
            <a:endParaRPr lang="fi-FI"/>
          </a:p>
        </p:txBody>
      </p:sp>
      <p:sp>
        <p:nvSpPr>
          <p:cNvPr id="8" name="Alatunnisteen paikkamerkki 1">
            <a:extLst>
              <a:ext uri="{FF2B5EF4-FFF2-40B4-BE49-F238E27FC236}">
                <a16:creationId xmlns:a16="http://schemas.microsoft.com/office/drawing/2014/main" id="{13027FEF-DE20-014A-9E8F-E698EDCE5974}"/>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a:solidFill>
                  <a:schemeClr val="accent3"/>
                </a:solidFill>
              </a:defRPr>
            </a:lvl1pPr>
          </a:lstStyle>
          <a:p>
            <a:endParaRPr lang="fi-FI"/>
          </a:p>
        </p:txBody>
      </p:sp>
      <p:sp>
        <p:nvSpPr>
          <p:cNvPr id="16" name="Picture Placeholder 1">
            <a:extLst>
              <a:ext uri="{FF2B5EF4-FFF2-40B4-BE49-F238E27FC236}">
                <a16:creationId xmlns:a16="http://schemas.microsoft.com/office/drawing/2014/main" id="{1BD39091-CA48-D441-9BAE-CBA0017C388C}"/>
              </a:ext>
            </a:extLst>
          </p:cNvPr>
          <p:cNvSpPr>
            <a:spLocks noGrp="1"/>
          </p:cNvSpPr>
          <p:nvPr>
            <p:ph type="pic" sz="quarter" idx="19" hasCustomPrompt="1"/>
          </p:nvPr>
        </p:nvSpPr>
        <p:spPr>
          <a:xfrm>
            <a:off x="6830010" y="3203796"/>
            <a:ext cx="4825056" cy="2664000"/>
          </a:xfrm>
        </p:spPr>
        <p:txBody>
          <a:bodyPr/>
          <a:lstStyle/>
          <a:p>
            <a:r>
              <a:rPr lang="fi-FI"/>
              <a:t>Lisää kuva</a:t>
            </a:r>
          </a:p>
        </p:txBody>
      </p:sp>
    </p:spTree>
    <p:extLst>
      <p:ext uri="{BB962C8B-B14F-4D97-AF65-F5344CB8AC3E}">
        <p14:creationId xmlns:p14="http://schemas.microsoft.com/office/powerpoint/2010/main" val="41792164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aavi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D78C91-68EB-8F49-BCA0-9DEA48F770F3}"/>
              </a:ext>
            </a:extLst>
          </p:cNvPr>
          <p:cNvSpPr>
            <a:spLocks noGrp="1"/>
          </p:cNvSpPr>
          <p:nvPr>
            <p:ph type="title" hasCustomPrompt="1"/>
          </p:nvPr>
        </p:nvSpPr>
        <p:spPr>
          <a:xfrm>
            <a:off x="600900" y="472515"/>
            <a:ext cx="10992840" cy="1265750"/>
          </a:xfrm>
        </p:spPr>
        <p:txBody>
          <a:bodyPr/>
          <a:lstStyle>
            <a:lvl1pPr>
              <a:defRPr sz="2400" b="1" i="0">
                <a:solidFill>
                  <a:schemeClr val="accent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MUOKKAA TEKSTIÄ</a:t>
            </a:r>
            <a:endParaRPr lang="fi-FI"/>
          </a:p>
        </p:txBody>
      </p:sp>
      <p:sp>
        <p:nvSpPr>
          <p:cNvPr id="6" name="Content Placeholder 4">
            <a:extLst>
              <a:ext uri="{FF2B5EF4-FFF2-40B4-BE49-F238E27FC236}">
                <a16:creationId xmlns:a16="http://schemas.microsoft.com/office/drawing/2014/main" id="{3B285088-C137-FA46-8FE5-8A87A875D906}"/>
              </a:ext>
            </a:extLst>
          </p:cNvPr>
          <p:cNvSpPr>
            <a:spLocks noGrp="1"/>
          </p:cNvSpPr>
          <p:nvPr>
            <p:ph sz="quarter" idx="18" hasCustomPrompt="1"/>
          </p:nvPr>
        </p:nvSpPr>
        <p:spPr>
          <a:xfrm>
            <a:off x="600899" y="1778000"/>
            <a:ext cx="10992841" cy="4088197"/>
          </a:xfrm>
        </p:spPr>
        <p:txBody>
          <a:bodyPr>
            <a:normAutofit/>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vl2pPr>
              <a:defRPr/>
            </a:lvl2pPr>
            <a:lvl3pPr>
              <a:defRPr/>
            </a:lvl3pPr>
            <a:lvl4pPr>
              <a:defRPr/>
            </a:lvl4pPr>
            <a:lvl5pPr>
              <a:defRPr/>
            </a:lvl5pPr>
          </a:lstStyle>
          <a:p>
            <a:pPr lvl="0"/>
            <a:r>
              <a:rPr lang="en-US" err="1"/>
              <a:t>Muokkaa</a:t>
            </a:r>
            <a:r>
              <a:rPr lang="en-US"/>
              <a:t> </a:t>
            </a:r>
            <a:r>
              <a:rPr lang="en-US" err="1"/>
              <a:t>tekstiä</a:t>
            </a:r>
            <a:endParaRPr lang="en-US"/>
          </a:p>
          <a:p>
            <a:pPr lvl="1"/>
            <a:r>
              <a:rPr lang="en-US" err="1"/>
              <a:t>Toinen</a:t>
            </a:r>
            <a:r>
              <a:rPr lang="en-US"/>
              <a:t> </a:t>
            </a:r>
            <a:r>
              <a:rPr lang="en-US" err="1"/>
              <a:t>taso</a:t>
            </a:r>
            <a:endParaRPr lang="en-US"/>
          </a:p>
          <a:p>
            <a:pPr lvl="2"/>
            <a:r>
              <a:rPr lang="en-US" err="1"/>
              <a:t>Kolmas</a:t>
            </a:r>
            <a:r>
              <a:rPr lang="en-US"/>
              <a:t> </a:t>
            </a:r>
            <a:r>
              <a:rPr lang="en-US" err="1"/>
              <a:t>taso</a:t>
            </a:r>
            <a:endParaRPr lang="en-US"/>
          </a:p>
          <a:p>
            <a:pPr lvl="3"/>
            <a:r>
              <a:rPr lang="en-US" err="1"/>
              <a:t>Neljäs</a:t>
            </a:r>
            <a:r>
              <a:rPr lang="en-US"/>
              <a:t> </a:t>
            </a:r>
            <a:r>
              <a:rPr lang="en-US" err="1"/>
              <a:t>taso</a:t>
            </a:r>
            <a:endParaRPr lang="en-US"/>
          </a:p>
          <a:p>
            <a:pPr lvl="4"/>
            <a:r>
              <a:rPr lang="en-US" err="1"/>
              <a:t>Viides</a:t>
            </a:r>
            <a:r>
              <a:rPr lang="en-US"/>
              <a:t> </a:t>
            </a:r>
            <a:r>
              <a:rPr lang="en-US" err="1"/>
              <a:t>taso</a:t>
            </a:r>
            <a:endParaRPr lang="fi-FI"/>
          </a:p>
        </p:txBody>
      </p:sp>
      <p:sp>
        <p:nvSpPr>
          <p:cNvPr id="7" name="Date Placeholder 2">
            <a:extLst>
              <a:ext uri="{FF2B5EF4-FFF2-40B4-BE49-F238E27FC236}">
                <a16:creationId xmlns:a16="http://schemas.microsoft.com/office/drawing/2014/main" id="{F0C84D9F-7ECF-1443-9602-CEBC4F489CD9}"/>
              </a:ext>
            </a:extLst>
          </p:cNvPr>
          <p:cNvSpPr>
            <a:spLocks noGrp="1"/>
          </p:cNvSpPr>
          <p:nvPr>
            <p:ph type="dt" sz="half" idx="2"/>
          </p:nvPr>
        </p:nvSpPr>
        <p:spPr>
          <a:xfrm>
            <a:off x="1298279" y="6559865"/>
            <a:ext cx="2740321" cy="141878"/>
          </a:xfrm>
          <a:prstGeom prst="rect">
            <a:avLst/>
          </a:prstGeom>
        </p:spPr>
        <p:txBody>
          <a:bodyPr vert="horz" lIns="91440" tIns="45720" rIns="91440" bIns="45720" rtlCol="0" anchor="ctr"/>
          <a:lstStyle>
            <a:lvl1pPr algn="l">
              <a:defRPr sz="900">
                <a:solidFill>
                  <a:schemeClr val="tx2"/>
                </a:solidFill>
              </a:defRPr>
            </a:lvl1pPr>
          </a:lstStyle>
          <a:p>
            <a:fld id="{649D4A59-9075-664D-AD36-DF840CEB6D03}" type="datetime1">
              <a:rPr lang="fi-FI" smtClean="0"/>
              <a:t>29.4.2022</a:t>
            </a:fld>
            <a:endParaRPr lang="fi-FI"/>
          </a:p>
        </p:txBody>
      </p:sp>
      <p:sp>
        <p:nvSpPr>
          <p:cNvPr id="5" name="Alatunnisteen paikkamerkki 1">
            <a:extLst>
              <a:ext uri="{FF2B5EF4-FFF2-40B4-BE49-F238E27FC236}">
                <a16:creationId xmlns:a16="http://schemas.microsoft.com/office/drawing/2014/main" id="{B912856C-04F1-184F-B7D0-ACF7D16949A2}"/>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a:solidFill>
                  <a:schemeClr val="accent3"/>
                </a:solidFill>
              </a:defRPr>
            </a:lvl1pPr>
          </a:lstStyle>
          <a:p>
            <a:endParaRPr lang="fi-FI"/>
          </a:p>
        </p:txBody>
      </p:sp>
    </p:spTree>
    <p:extLst>
      <p:ext uri="{BB962C8B-B14F-4D97-AF65-F5344CB8AC3E}">
        <p14:creationId xmlns:p14="http://schemas.microsoft.com/office/powerpoint/2010/main" val="3403682157"/>
      </p:ext>
    </p:extLst>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ubrik diagram">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2102BBD9-EE2B-435B-8DA0-E585B756EBDC}" type="datetime1">
              <a:rPr lang="sv-SE" smtClean="0"/>
              <a:t>2022-04-29</a:t>
            </a:fld>
            <a:endParaRPr lang="en-GB"/>
          </a:p>
        </p:txBody>
      </p:sp>
      <p:sp>
        <p:nvSpPr>
          <p:cNvPr id="5" name="Platshållare för sidfot 4"/>
          <p:cNvSpPr>
            <a:spLocks noGrp="1"/>
          </p:cNvSpPr>
          <p:nvPr>
            <p:ph type="ftr" sz="quarter" idx="11"/>
          </p:nvPr>
        </p:nvSpPr>
        <p:spPr/>
        <p:txBody>
          <a:body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12"/>
          </p:nvPr>
        </p:nvSpPr>
        <p:spPr/>
        <p:txBody>
          <a:bodyPr/>
          <a:lstStyle/>
          <a:p>
            <a:fld id="{A3EAEDCA-98D4-4724-9772-C653855CA076}" type="slidenum">
              <a:rPr lang="en-GB" smtClean="0"/>
              <a:t>‹#›</a:t>
            </a:fld>
            <a:endParaRPr lang="en-GB"/>
          </a:p>
        </p:txBody>
      </p:sp>
      <p:sp>
        <p:nvSpPr>
          <p:cNvPr id="8" name="Platshållare för text 7"/>
          <p:cNvSpPr>
            <a:spLocks noGrp="1"/>
          </p:cNvSpPr>
          <p:nvPr>
            <p:ph type="body" sz="quarter" idx="13"/>
          </p:nvPr>
        </p:nvSpPr>
        <p:spPr>
          <a:xfrm>
            <a:off x="812800" y="1633151"/>
            <a:ext cx="11125200" cy="344757"/>
          </a:xfrm>
        </p:spPr>
        <p:txBody>
          <a:bodyPr/>
          <a:lstStyle>
            <a:lvl1pPr marL="12600" indent="0">
              <a:buNone/>
              <a:defRPr/>
            </a:lvl1pPr>
            <a:lvl2pPr marL="469800" indent="0">
              <a:buNone/>
              <a:defRPr/>
            </a:lvl2pPr>
            <a:lvl3pPr marL="927000" indent="0">
              <a:buNone/>
              <a:defRPr/>
            </a:lvl3pPr>
            <a:lvl4pPr marL="1384200" indent="0">
              <a:buNone/>
              <a:defRPr/>
            </a:lvl4pPr>
            <a:lvl5pPr marL="1841400" indent="0">
              <a:buNone/>
              <a:defRPr/>
            </a:lvl5pPr>
          </a:lstStyle>
          <a:p>
            <a:pPr lvl="0"/>
            <a:r>
              <a:rPr lang="sv-SE"/>
              <a:t>Klicka här för att ändra format på bakgrundstexten</a:t>
            </a:r>
          </a:p>
        </p:txBody>
      </p:sp>
      <p:sp>
        <p:nvSpPr>
          <p:cNvPr id="11" name="Platshållare för diagram 10"/>
          <p:cNvSpPr>
            <a:spLocks noGrp="1"/>
          </p:cNvSpPr>
          <p:nvPr>
            <p:ph type="chart" sz="quarter" idx="14"/>
          </p:nvPr>
        </p:nvSpPr>
        <p:spPr>
          <a:xfrm>
            <a:off x="803275" y="2059818"/>
            <a:ext cx="10969975" cy="4307418"/>
          </a:xfrm>
        </p:spPr>
        <p:txBody>
          <a:bodyPr/>
          <a:lstStyle/>
          <a:p>
            <a:r>
              <a:rPr lang="sv-SE"/>
              <a:t>Klicka på ikonen för att lägga till ett diagram</a:t>
            </a:r>
          </a:p>
        </p:txBody>
      </p:sp>
      <p:sp>
        <p:nvSpPr>
          <p:cNvPr id="3" name="Rubrik 2"/>
          <p:cNvSpPr>
            <a:spLocks noGrp="1"/>
          </p:cNvSpPr>
          <p:nvPr>
            <p:ph type="title"/>
          </p:nvPr>
        </p:nvSpPr>
        <p:spPr/>
        <p:txBody>
          <a:bodyPr/>
          <a:lstStyle/>
          <a:p>
            <a:r>
              <a:rPr lang="sv-SE"/>
              <a:t>Klicka här för att ändra format</a:t>
            </a:r>
            <a:endParaRPr lang="en-GB"/>
          </a:p>
        </p:txBody>
      </p:sp>
    </p:spTree>
    <p:extLst>
      <p:ext uri="{BB962C8B-B14F-4D97-AF65-F5344CB8AC3E}">
        <p14:creationId xmlns:p14="http://schemas.microsoft.com/office/powerpoint/2010/main" val="27392035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aksi sisältökohdetta 2">
    <p:spTree>
      <p:nvGrpSpPr>
        <p:cNvPr id="1" name=""/>
        <p:cNvGrpSpPr/>
        <p:nvPr/>
      </p:nvGrpSpPr>
      <p:grpSpPr>
        <a:xfrm>
          <a:off x="0" y="0"/>
          <a:ext cx="0" cy="0"/>
          <a:chOff x="0" y="0"/>
          <a:chExt cx="0" cy="0"/>
        </a:xfrm>
      </p:grpSpPr>
      <p:sp>
        <p:nvSpPr>
          <p:cNvPr id="8" name="Content Placeholder 4">
            <a:extLst>
              <a:ext uri="{FF2B5EF4-FFF2-40B4-BE49-F238E27FC236}">
                <a16:creationId xmlns:a16="http://schemas.microsoft.com/office/drawing/2014/main" id="{321A629D-0530-3843-9274-6602DC10FBFF}"/>
              </a:ext>
            </a:extLst>
          </p:cNvPr>
          <p:cNvSpPr>
            <a:spLocks noGrp="1"/>
          </p:cNvSpPr>
          <p:nvPr>
            <p:ph sz="quarter" idx="18" hasCustomPrompt="1"/>
          </p:nvPr>
        </p:nvSpPr>
        <p:spPr>
          <a:xfrm>
            <a:off x="6231905" y="1778512"/>
            <a:ext cx="5373709" cy="4096889"/>
          </a:xfrm>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vl2pPr>
              <a:defRPr/>
            </a:lvl2pPr>
            <a:lvl3pPr>
              <a:defRPr/>
            </a:lvl3pPr>
            <a:lvl4pPr>
              <a:defRPr/>
            </a:lvl4pPr>
            <a:lvl5pPr>
              <a:defRPr/>
            </a:lvl5pPr>
          </a:lstStyle>
          <a:p>
            <a:pPr lvl="0"/>
            <a:r>
              <a:rPr lang="en-US" err="1"/>
              <a:t>Muokkaa</a:t>
            </a:r>
            <a:r>
              <a:rPr lang="en-US"/>
              <a:t> </a:t>
            </a:r>
            <a:r>
              <a:rPr lang="en-US" err="1"/>
              <a:t>tekstiä</a:t>
            </a:r>
            <a:endParaRPr lang="en-US"/>
          </a:p>
          <a:p>
            <a:pPr lvl="1"/>
            <a:r>
              <a:rPr lang="en-US" err="1"/>
              <a:t>Toinen</a:t>
            </a:r>
            <a:r>
              <a:rPr lang="en-US"/>
              <a:t> </a:t>
            </a:r>
            <a:r>
              <a:rPr lang="en-US" err="1"/>
              <a:t>taso</a:t>
            </a:r>
            <a:endParaRPr lang="en-US"/>
          </a:p>
          <a:p>
            <a:pPr lvl="2"/>
            <a:r>
              <a:rPr lang="en-US" err="1"/>
              <a:t>Kolmas</a:t>
            </a:r>
            <a:r>
              <a:rPr lang="en-US"/>
              <a:t> </a:t>
            </a:r>
            <a:r>
              <a:rPr lang="en-US" err="1"/>
              <a:t>taso</a:t>
            </a:r>
            <a:endParaRPr lang="en-US"/>
          </a:p>
          <a:p>
            <a:pPr lvl="3"/>
            <a:r>
              <a:rPr lang="en-US" err="1"/>
              <a:t>Neljäs</a:t>
            </a:r>
            <a:r>
              <a:rPr lang="en-US"/>
              <a:t> </a:t>
            </a:r>
            <a:r>
              <a:rPr lang="en-US" err="1"/>
              <a:t>taso</a:t>
            </a:r>
            <a:endParaRPr lang="en-US"/>
          </a:p>
          <a:p>
            <a:pPr lvl="4"/>
            <a:r>
              <a:rPr lang="en-US" err="1"/>
              <a:t>Viides</a:t>
            </a:r>
            <a:r>
              <a:rPr lang="en-US"/>
              <a:t> </a:t>
            </a:r>
            <a:r>
              <a:rPr lang="en-US" err="1"/>
              <a:t>taso</a:t>
            </a:r>
            <a:endParaRPr lang="fi-FI"/>
          </a:p>
        </p:txBody>
      </p:sp>
      <p:sp>
        <p:nvSpPr>
          <p:cNvPr id="9" name="Content Placeholder 4">
            <a:extLst>
              <a:ext uri="{FF2B5EF4-FFF2-40B4-BE49-F238E27FC236}">
                <a16:creationId xmlns:a16="http://schemas.microsoft.com/office/drawing/2014/main" id="{26C473ED-985F-7348-8148-7C45228415FD}"/>
              </a:ext>
            </a:extLst>
          </p:cNvPr>
          <p:cNvSpPr>
            <a:spLocks noGrp="1"/>
          </p:cNvSpPr>
          <p:nvPr>
            <p:ph sz="quarter" idx="19" hasCustomPrompt="1"/>
          </p:nvPr>
        </p:nvSpPr>
        <p:spPr>
          <a:xfrm>
            <a:off x="599579" y="1778000"/>
            <a:ext cx="5373709" cy="4097401"/>
          </a:xfrm>
        </p:spPr>
        <p:txBody>
          <a:bodyPr/>
          <a:lstStyle>
            <a:lvl1pPr>
              <a:defRPr b="1" i="0">
                <a:latin typeface="Open Sans" panose="020B0606030504020204" pitchFamily="34" charset="0"/>
                <a:ea typeface="Open Sans" panose="020B0606030504020204" pitchFamily="34" charset="0"/>
                <a:cs typeface="Open Sans" panose="020B0606030504020204" pitchFamily="34" charset="0"/>
              </a:defRPr>
            </a:lvl1pPr>
            <a:lvl2pPr>
              <a:defRPr/>
            </a:lvl2pPr>
            <a:lvl3pPr>
              <a:defRPr/>
            </a:lvl3pPr>
            <a:lvl4pPr>
              <a:defRPr/>
            </a:lvl4pPr>
            <a:lvl5pPr>
              <a:defRPr/>
            </a:lvl5pPr>
          </a:lstStyle>
          <a:p>
            <a:pPr lvl="0"/>
            <a:r>
              <a:rPr lang="en-US" err="1"/>
              <a:t>Muokkaa</a:t>
            </a:r>
            <a:r>
              <a:rPr lang="en-US"/>
              <a:t> </a:t>
            </a:r>
            <a:r>
              <a:rPr lang="en-US" err="1"/>
              <a:t>tekstiä</a:t>
            </a:r>
            <a:endParaRPr lang="en-US"/>
          </a:p>
          <a:p>
            <a:pPr lvl="1"/>
            <a:r>
              <a:rPr lang="en-US" err="1"/>
              <a:t>Toinen</a:t>
            </a:r>
            <a:r>
              <a:rPr lang="en-US"/>
              <a:t> </a:t>
            </a:r>
            <a:r>
              <a:rPr lang="en-US" err="1"/>
              <a:t>taso</a:t>
            </a:r>
            <a:endParaRPr lang="en-US"/>
          </a:p>
          <a:p>
            <a:pPr lvl="2"/>
            <a:r>
              <a:rPr lang="en-US" err="1"/>
              <a:t>Kolmas</a:t>
            </a:r>
            <a:r>
              <a:rPr lang="en-US"/>
              <a:t> </a:t>
            </a:r>
            <a:r>
              <a:rPr lang="en-US" err="1"/>
              <a:t>taso</a:t>
            </a:r>
            <a:endParaRPr lang="en-US"/>
          </a:p>
          <a:p>
            <a:pPr lvl="3"/>
            <a:r>
              <a:rPr lang="en-US" err="1"/>
              <a:t>Neljäs</a:t>
            </a:r>
            <a:r>
              <a:rPr lang="en-US"/>
              <a:t> </a:t>
            </a:r>
            <a:r>
              <a:rPr lang="en-US" err="1"/>
              <a:t>taso</a:t>
            </a:r>
            <a:endParaRPr lang="en-US"/>
          </a:p>
          <a:p>
            <a:pPr lvl="4"/>
            <a:r>
              <a:rPr lang="en-US" err="1"/>
              <a:t>Viides</a:t>
            </a:r>
            <a:r>
              <a:rPr lang="en-US"/>
              <a:t> </a:t>
            </a:r>
            <a:r>
              <a:rPr lang="en-US" err="1"/>
              <a:t>taso</a:t>
            </a:r>
            <a:endParaRPr lang="fi-FI"/>
          </a:p>
        </p:txBody>
      </p:sp>
      <p:sp>
        <p:nvSpPr>
          <p:cNvPr id="3" name="Title 2">
            <a:extLst>
              <a:ext uri="{FF2B5EF4-FFF2-40B4-BE49-F238E27FC236}">
                <a16:creationId xmlns:a16="http://schemas.microsoft.com/office/drawing/2014/main" id="{68ADEE30-1CFD-0E46-9573-C17395BEDADC}"/>
              </a:ext>
            </a:extLst>
          </p:cNvPr>
          <p:cNvSpPr>
            <a:spLocks noGrp="1"/>
          </p:cNvSpPr>
          <p:nvPr>
            <p:ph type="title" hasCustomPrompt="1"/>
          </p:nvPr>
        </p:nvSpPr>
        <p:spPr>
          <a:xfrm>
            <a:off x="599579" y="472515"/>
            <a:ext cx="11006035" cy="1265750"/>
          </a:xfrm>
        </p:spPr>
        <p:txBody>
          <a:bodyPr/>
          <a:lstStyle>
            <a:lvl1pPr>
              <a:defRPr sz="2400" b="1" i="0">
                <a:solidFill>
                  <a:schemeClr val="accent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MUOKKAA TEKSTIÄ</a:t>
            </a:r>
            <a:endParaRPr lang="fi-FI"/>
          </a:p>
        </p:txBody>
      </p:sp>
      <p:sp>
        <p:nvSpPr>
          <p:cNvPr id="10" name="Date Placeholder 2">
            <a:extLst>
              <a:ext uri="{FF2B5EF4-FFF2-40B4-BE49-F238E27FC236}">
                <a16:creationId xmlns:a16="http://schemas.microsoft.com/office/drawing/2014/main" id="{5351DBFB-8580-E941-895C-1543E310F2A7}"/>
              </a:ext>
            </a:extLst>
          </p:cNvPr>
          <p:cNvSpPr>
            <a:spLocks noGrp="1"/>
          </p:cNvSpPr>
          <p:nvPr>
            <p:ph type="dt" sz="half" idx="2"/>
          </p:nvPr>
        </p:nvSpPr>
        <p:spPr>
          <a:xfrm>
            <a:off x="1298279" y="6559865"/>
            <a:ext cx="2740321" cy="141878"/>
          </a:xfrm>
          <a:prstGeom prst="rect">
            <a:avLst/>
          </a:prstGeom>
        </p:spPr>
        <p:txBody>
          <a:bodyPr vert="horz" lIns="91440" tIns="45720" rIns="91440" bIns="45720" rtlCol="0" anchor="ctr"/>
          <a:lstStyle>
            <a:lvl1pPr algn="l">
              <a:defRPr sz="900">
                <a:solidFill>
                  <a:schemeClr val="tx2"/>
                </a:solidFill>
              </a:defRPr>
            </a:lvl1pPr>
          </a:lstStyle>
          <a:p>
            <a:fld id="{7BC23778-3ACC-CE44-8741-C1431DF68739}" type="datetime1">
              <a:rPr lang="fi-FI" smtClean="0"/>
              <a:t>29.4.2022</a:t>
            </a:fld>
            <a:endParaRPr lang="fi-FI"/>
          </a:p>
        </p:txBody>
      </p:sp>
      <p:sp>
        <p:nvSpPr>
          <p:cNvPr id="6" name="Alatunnisteen paikkamerkki 1">
            <a:extLst>
              <a:ext uri="{FF2B5EF4-FFF2-40B4-BE49-F238E27FC236}">
                <a16:creationId xmlns:a16="http://schemas.microsoft.com/office/drawing/2014/main" id="{E95FC7CF-150B-C247-999F-5D8264132018}"/>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a:solidFill>
                  <a:schemeClr val="accent3"/>
                </a:solidFill>
              </a:defRPr>
            </a:lvl1pPr>
          </a:lstStyle>
          <a:p>
            <a:endParaRPr lang="fi-FI"/>
          </a:p>
        </p:txBody>
      </p:sp>
    </p:spTree>
    <p:extLst>
      <p:ext uri="{BB962C8B-B14F-4D97-AF65-F5344CB8AC3E}">
        <p14:creationId xmlns:p14="http://schemas.microsoft.com/office/powerpoint/2010/main" val="3152795337"/>
      </p:ext>
    </p:extLst>
  </p:cSld>
  <p:clrMapOvr>
    <a:masterClrMapping/>
  </p:clrMapOvr>
  <p:transition spd="slow"/>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Otsikollinen sisältö">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1040A68-CD56-254F-AF89-D6F519B4CD85}"/>
              </a:ext>
            </a:extLst>
          </p:cNvPr>
          <p:cNvSpPr/>
          <p:nvPr userDrawn="1"/>
        </p:nvSpPr>
        <p:spPr>
          <a:xfrm>
            <a:off x="0" y="0"/>
            <a:ext cx="40513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err="1">
              <a:solidFill>
                <a:schemeClr val="bg1"/>
              </a:solidFill>
              <a:latin typeface="Open Sans" panose="020B0606030504020204" pitchFamily="34" charset="0"/>
              <a:ea typeface="Muli" charset="0"/>
              <a:cs typeface="Muli" charset="0"/>
            </a:endParaRPr>
          </a:p>
        </p:txBody>
      </p:sp>
      <p:sp>
        <p:nvSpPr>
          <p:cNvPr id="11" name="Text Placeholder 7">
            <a:extLst>
              <a:ext uri="{FF2B5EF4-FFF2-40B4-BE49-F238E27FC236}">
                <a16:creationId xmlns:a16="http://schemas.microsoft.com/office/drawing/2014/main" id="{25E617BD-FE33-2549-953C-E73169D64F5A}"/>
              </a:ext>
            </a:extLst>
          </p:cNvPr>
          <p:cNvSpPr>
            <a:spLocks noGrp="1"/>
          </p:cNvSpPr>
          <p:nvPr>
            <p:ph type="body" sz="quarter" idx="14" hasCustomPrompt="1"/>
          </p:nvPr>
        </p:nvSpPr>
        <p:spPr>
          <a:xfrm>
            <a:off x="306938" y="477381"/>
            <a:ext cx="3417719" cy="5711384"/>
          </a:xfrm>
          <a:prstGeom prst="rect">
            <a:avLst/>
          </a:prstGeom>
        </p:spPr>
        <p:txBody>
          <a:bodyPr/>
          <a:lstStyle>
            <a:lvl1pPr marL="342900" indent="-342900" algn="l">
              <a:lnSpc>
                <a:spcPct val="85000"/>
              </a:lnSpc>
              <a:buClr>
                <a:schemeClr val="bg1"/>
              </a:buClr>
              <a:buFont typeface="Wingdings" pitchFamily="2" charset="2"/>
              <a:buChar char="§"/>
              <a:defRPr b="1" i="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fi-FI"/>
              <a:t>Muokkaa tekstiä</a:t>
            </a:r>
          </a:p>
        </p:txBody>
      </p:sp>
      <p:sp>
        <p:nvSpPr>
          <p:cNvPr id="9" name="Content Placeholder 4">
            <a:extLst>
              <a:ext uri="{FF2B5EF4-FFF2-40B4-BE49-F238E27FC236}">
                <a16:creationId xmlns:a16="http://schemas.microsoft.com/office/drawing/2014/main" id="{8DF81605-546C-0D42-820B-974D8A20446D}"/>
              </a:ext>
            </a:extLst>
          </p:cNvPr>
          <p:cNvSpPr>
            <a:spLocks noGrp="1"/>
          </p:cNvSpPr>
          <p:nvPr>
            <p:ph sz="quarter" idx="18" hasCustomPrompt="1"/>
          </p:nvPr>
        </p:nvSpPr>
        <p:spPr>
          <a:xfrm>
            <a:off x="4622731" y="1738265"/>
            <a:ext cx="6982884" cy="4136484"/>
          </a:xfrm>
        </p:spPr>
        <p:txBody>
          <a:bodyPr/>
          <a:lstStyle>
            <a:lvl1pPr marL="237061" indent="-237061">
              <a:buFont typeface="Wingdings" pitchFamily="2" charset="2"/>
              <a:buChar char="§"/>
              <a:defRPr b="1" i="0">
                <a:latin typeface="Open Sans" panose="020B0606030504020204" pitchFamily="34" charset="0"/>
                <a:ea typeface="Open Sans" panose="020B0606030504020204" pitchFamily="34" charset="0"/>
                <a:cs typeface="Open Sans" panose="020B0606030504020204" pitchFamily="34" charset="0"/>
              </a:defRPr>
            </a:lvl1pPr>
            <a:lvl2pPr marL="474121" indent="-234945">
              <a:buFont typeface="Wingdings" pitchFamily="2" charset="2"/>
              <a:buChar char="§"/>
              <a:defRPr/>
            </a:lvl2pPr>
            <a:lvl3pPr marL="711182" indent="-237061">
              <a:buFont typeface="Wingdings" pitchFamily="2" charset="2"/>
              <a:buChar char="§"/>
              <a:defRPr/>
            </a:lvl3pPr>
            <a:lvl4pPr marL="829713" indent="-228594">
              <a:buFont typeface="Wingdings" pitchFamily="2" charset="2"/>
              <a:buChar char="§"/>
              <a:defRPr/>
            </a:lvl4pPr>
            <a:lvl5pPr marL="1007508" indent="-287859">
              <a:buFont typeface="Wingdings" pitchFamily="2" charset="2"/>
              <a:buChar char="§"/>
              <a:defRPr/>
            </a:lvl5pPr>
          </a:lstStyle>
          <a:p>
            <a:pPr lvl="0"/>
            <a:r>
              <a:rPr lang="en-US" err="1"/>
              <a:t>Muokkaa</a:t>
            </a:r>
            <a:r>
              <a:rPr lang="en-US"/>
              <a:t> </a:t>
            </a:r>
            <a:r>
              <a:rPr lang="en-US" err="1"/>
              <a:t>tekstiä</a:t>
            </a:r>
            <a:endParaRPr lang="en-US"/>
          </a:p>
          <a:p>
            <a:pPr lvl="1"/>
            <a:r>
              <a:rPr lang="en-US" err="1"/>
              <a:t>Toinen</a:t>
            </a:r>
            <a:r>
              <a:rPr lang="en-US"/>
              <a:t> </a:t>
            </a:r>
            <a:r>
              <a:rPr lang="en-US" err="1"/>
              <a:t>taso</a:t>
            </a:r>
            <a:endParaRPr lang="en-US"/>
          </a:p>
          <a:p>
            <a:pPr lvl="2"/>
            <a:r>
              <a:rPr lang="en-US" err="1"/>
              <a:t>Kolmas</a:t>
            </a:r>
            <a:r>
              <a:rPr lang="en-US"/>
              <a:t> </a:t>
            </a:r>
            <a:r>
              <a:rPr lang="en-US" err="1"/>
              <a:t>taso</a:t>
            </a:r>
            <a:endParaRPr lang="en-US"/>
          </a:p>
          <a:p>
            <a:pPr lvl="3"/>
            <a:r>
              <a:rPr lang="en-US" err="1"/>
              <a:t>Neljäs</a:t>
            </a:r>
            <a:r>
              <a:rPr lang="en-US"/>
              <a:t> </a:t>
            </a:r>
            <a:r>
              <a:rPr lang="en-US" err="1"/>
              <a:t>taso</a:t>
            </a:r>
            <a:endParaRPr lang="en-US"/>
          </a:p>
          <a:p>
            <a:pPr lvl="4"/>
            <a:r>
              <a:rPr lang="en-US" err="1"/>
              <a:t>Viides</a:t>
            </a:r>
            <a:r>
              <a:rPr lang="en-US"/>
              <a:t> </a:t>
            </a:r>
            <a:r>
              <a:rPr lang="en-US" err="1"/>
              <a:t>taso</a:t>
            </a:r>
            <a:endParaRPr lang="fi-FI"/>
          </a:p>
        </p:txBody>
      </p:sp>
      <p:sp>
        <p:nvSpPr>
          <p:cNvPr id="4" name="Title 3">
            <a:extLst>
              <a:ext uri="{FF2B5EF4-FFF2-40B4-BE49-F238E27FC236}">
                <a16:creationId xmlns:a16="http://schemas.microsoft.com/office/drawing/2014/main" id="{A462E57C-FBA0-BE48-A181-74D3FC16CFF8}"/>
              </a:ext>
            </a:extLst>
          </p:cNvPr>
          <p:cNvSpPr>
            <a:spLocks noGrp="1"/>
          </p:cNvSpPr>
          <p:nvPr>
            <p:ph type="title" hasCustomPrompt="1"/>
          </p:nvPr>
        </p:nvSpPr>
        <p:spPr>
          <a:xfrm>
            <a:off x="4622731" y="472516"/>
            <a:ext cx="6982884" cy="1265749"/>
          </a:xfrm>
        </p:spPr>
        <p:txBody>
          <a:bodyPr/>
          <a:lstStyle>
            <a:lvl1pPr>
              <a:defRPr sz="2400" b="1" i="0">
                <a:solidFill>
                  <a:schemeClr val="accent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MUOKKAA TEKSTIÄ</a:t>
            </a:r>
            <a:endParaRPr lang="fi-FI"/>
          </a:p>
        </p:txBody>
      </p:sp>
    </p:spTree>
    <p:extLst>
      <p:ext uri="{BB962C8B-B14F-4D97-AF65-F5344CB8AC3E}">
        <p14:creationId xmlns:p14="http://schemas.microsoft.com/office/powerpoint/2010/main" val="4111094982"/>
      </p:ext>
    </p:extLst>
  </p:cSld>
  <p:clrMapOvr>
    <a:masterClrMapping/>
  </p:clrMapOvr>
  <p:transition spd="slow"/>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Otsikollinen kuv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DB8E130-4E5D-6644-AD44-0B2C2DDAAF55}"/>
              </a:ext>
            </a:extLst>
          </p:cNvPr>
          <p:cNvSpPr/>
          <p:nvPr userDrawn="1"/>
        </p:nvSpPr>
        <p:spPr>
          <a:xfrm>
            <a:off x="0" y="0"/>
            <a:ext cx="12192000" cy="3429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err="1">
              <a:solidFill>
                <a:schemeClr val="bg1"/>
              </a:solidFill>
              <a:latin typeface="Open Sans" panose="020B0606030504020204" pitchFamily="34" charset="0"/>
              <a:ea typeface="Muli" charset="0"/>
              <a:cs typeface="Muli" charset="0"/>
            </a:endParaRPr>
          </a:p>
        </p:txBody>
      </p:sp>
      <p:sp>
        <p:nvSpPr>
          <p:cNvPr id="15" name="Title 1">
            <a:extLst>
              <a:ext uri="{FF2B5EF4-FFF2-40B4-BE49-F238E27FC236}">
                <a16:creationId xmlns:a16="http://schemas.microsoft.com/office/drawing/2014/main" id="{7B6E4B16-9BF5-C24A-A060-05C88735CE47}"/>
              </a:ext>
            </a:extLst>
          </p:cNvPr>
          <p:cNvSpPr>
            <a:spLocks noGrp="1"/>
          </p:cNvSpPr>
          <p:nvPr>
            <p:ph type="title" hasCustomPrompt="1"/>
          </p:nvPr>
        </p:nvSpPr>
        <p:spPr>
          <a:xfrm>
            <a:off x="492869" y="3802559"/>
            <a:ext cx="6402062" cy="745995"/>
          </a:xfrm>
        </p:spPr>
        <p:txBody>
          <a:bodyPr anchor="t">
            <a:normAutofit/>
          </a:bodyPr>
          <a:lstStyle>
            <a:lvl1pPr algn="l">
              <a:defRPr sz="2400">
                <a:solidFill>
                  <a:schemeClr val="accent1"/>
                </a:solidFill>
              </a:defRPr>
            </a:lvl1pPr>
          </a:lstStyle>
          <a:p>
            <a:r>
              <a:rPr lang="fi-FI"/>
              <a:t>MUOKKAA TEKSTIÄ</a:t>
            </a:r>
            <a:endParaRPr lang="en-US"/>
          </a:p>
        </p:txBody>
      </p:sp>
      <p:sp>
        <p:nvSpPr>
          <p:cNvPr id="16" name="Text Placeholder 7">
            <a:extLst>
              <a:ext uri="{FF2B5EF4-FFF2-40B4-BE49-F238E27FC236}">
                <a16:creationId xmlns:a16="http://schemas.microsoft.com/office/drawing/2014/main" id="{B0CA0F69-8784-2646-815D-58DDCA284C19}"/>
              </a:ext>
            </a:extLst>
          </p:cNvPr>
          <p:cNvSpPr>
            <a:spLocks noGrp="1"/>
          </p:cNvSpPr>
          <p:nvPr>
            <p:ph type="body" sz="quarter" idx="13" hasCustomPrompt="1"/>
          </p:nvPr>
        </p:nvSpPr>
        <p:spPr>
          <a:xfrm>
            <a:off x="492869" y="4598464"/>
            <a:ext cx="6402062" cy="1277914"/>
          </a:xfrm>
          <a:prstGeom prst="rect">
            <a:avLst/>
          </a:prstGeom>
        </p:spPr>
        <p:txBody>
          <a:bodyPr/>
          <a:lstStyle>
            <a:lvl1pPr marL="342900" indent="-342900" algn="l">
              <a:lnSpc>
                <a:spcPct val="85000"/>
              </a:lnSpc>
              <a:buFont typeface="Wingdings" pitchFamily="2" charset="2"/>
              <a:buChar char="§"/>
              <a:defRPr>
                <a:solidFill>
                  <a:schemeClr val="accent3"/>
                </a:solidFill>
              </a:defRPr>
            </a:lvl1pPr>
          </a:lstStyle>
          <a:p>
            <a:pPr lvl="0"/>
            <a:r>
              <a:rPr lang="fi-FI"/>
              <a:t>Muokkaa tekstiä</a:t>
            </a:r>
          </a:p>
        </p:txBody>
      </p:sp>
      <p:sp>
        <p:nvSpPr>
          <p:cNvPr id="4" name="Picture Placeholder 3">
            <a:extLst>
              <a:ext uri="{FF2B5EF4-FFF2-40B4-BE49-F238E27FC236}">
                <a16:creationId xmlns:a16="http://schemas.microsoft.com/office/drawing/2014/main" id="{02B7979D-494B-6B4F-9001-3F3D25F77C75}"/>
              </a:ext>
            </a:extLst>
          </p:cNvPr>
          <p:cNvSpPr>
            <a:spLocks noGrp="1"/>
          </p:cNvSpPr>
          <p:nvPr>
            <p:ph type="pic" sz="quarter" idx="14" hasCustomPrompt="1"/>
          </p:nvPr>
        </p:nvSpPr>
        <p:spPr>
          <a:xfrm>
            <a:off x="7770184" y="1555750"/>
            <a:ext cx="3746500" cy="3746500"/>
          </a:xfrm>
        </p:spPr>
        <p:txBody>
          <a:bodyPr/>
          <a:lstStyle/>
          <a:p>
            <a:r>
              <a:rPr lang="fi-FI"/>
              <a:t>Lisää kuva</a:t>
            </a:r>
          </a:p>
        </p:txBody>
      </p:sp>
      <p:sp>
        <p:nvSpPr>
          <p:cNvPr id="10" name="Date Placeholder 2">
            <a:extLst>
              <a:ext uri="{FF2B5EF4-FFF2-40B4-BE49-F238E27FC236}">
                <a16:creationId xmlns:a16="http://schemas.microsoft.com/office/drawing/2014/main" id="{76A622F2-AA10-BB48-9809-4F47C6124484}"/>
              </a:ext>
            </a:extLst>
          </p:cNvPr>
          <p:cNvSpPr>
            <a:spLocks noGrp="1"/>
          </p:cNvSpPr>
          <p:nvPr>
            <p:ph type="dt" sz="half" idx="2"/>
          </p:nvPr>
        </p:nvSpPr>
        <p:spPr>
          <a:xfrm>
            <a:off x="1298279" y="6559865"/>
            <a:ext cx="2740321" cy="141878"/>
          </a:xfrm>
          <a:prstGeom prst="rect">
            <a:avLst/>
          </a:prstGeom>
        </p:spPr>
        <p:txBody>
          <a:bodyPr vert="horz" lIns="91440" tIns="45720" rIns="91440" bIns="45720" rtlCol="0" anchor="ctr"/>
          <a:lstStyle>
            <a:lvl1pPr algn="l">
              <a:defRPr sz="900">
                <a:solidFill>
                  <a:schemeClr val="tx2"/>
                </a:solidFill>
              </a:defRPr>
            </a:lvl1pPr>
          </a:lstStyle>
          <a:p>
            <a:fld id="{FB6F538E-99F0-9847-A7F1-F97030EAAF92}" type="datetime1">
              <a:rPr lang="fi-FI" smtClean="0"/>
              <a:t>29.4.2022</a:t>
            </a:fld>
            <a:endParaRPr lang="fi-FI"/>
          </a:p>
        </p:txBody>
      </p:sp>
      <p:sp>
        <p:nvSpPr>
          <p:cNvPr id="8" name="Alatunnisteen paikkamerkki 1">
            <a:extLst>
              <a:ext uri="{FF2B5EF4-FFF2-40B4-BE49-F238E27FC236}">
                <a16:creationId xmlns:a16="http://schemas.microsoft.com/office/drawing/2014/main" id="{453D16C3-5E09-5E46-A0CB-99CE6545FFC3}"/>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a:solidFill>
                  <a:schemeClr val="accent3"/>
                </a:solidFill>
              </a:defRPr>
            </a:lvl1pPr>
          </a:lstStyle>
          <a:p>
            <a:endParaRPr lang="fi-FI"/>
          </a:p>
        </p:txBody>
      </p:sp>
    </p:spTree>
    <p:extLst>
      <p:ext uri="{BB962C8B-B14F-4D97-AF65-F5344CB8AC3E}">
        <p14:creationId xmlns:p14="http://schemas.microsoft.com/office/powerpoint/2010/main" val="1291488132"/>
      </p:ext>
    </p:extLst>
  </p:cSld>
  <p:clrMapOvr>
    <a:masterClrMapping/>
  </p:clrMapOvr>
  <p:transition spd="slow"/>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uva ja teksti 10">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DB8E130-4E5D-6644-AD44-0B2C2DDAAF55}"/>
              </a:ext>
            </a:extLst>
          </p:cNvPr>
          <p:cNvSpPr/>
          <p:nvPr userDrawn="1"/>
        </p:nvSpPr>
        <p:spPr>
          <a:xfrm>
            <a:off x="0" y="0"/>
            <a:ext cx="3113314"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err="1">
              <a:solidFill>
                <a:schemeClr val="bg1"/>
              </a:solidFill>
              <a:latin typeface="Open Sans" panose="020B0606030504020204" pitchFamily="34" charset="0"/>
              <a:ea typeface="Muli" charset="0"/>
              <a:cs typeface="Muli" charset="0"/>
            </a:endParaRPr>
          </a:p>
        </p:txBody>
      </p:sp>
      <p:sp>
        <p:nvSpPr>
          <p:cNvPr id="4" name="Picture Placeholder 3">
            <a:extLst>
              <a:ext uri="{FF2B5EF4-FFF2-40B4-BE49-F238E27FC236}">
                <a16:creationId xmlns:a16="http://schemas.microsoft.com/office/drawing/2014/main" id="{02B7979D-494B-6B4F-9001-3F3D25F77C75}"/>
              </a:ext>
            </a:extLst>
          </p:cNvPr>
          <p:cNvSpPr>
            <a:spLocks noGrp="1"/>
          </p:cNvSpPr>
          <p:nvPr>
            <p:ph type="pic" sz="quarter" idx="14" hasCustomPrompt="1"/>
          </p:nvPr>
        </p:nvSpPr>
        <p:spPr>
          <a:xfrm>
            <a:off x="892078" y="1213914"/>
            <a:ext cx="4442468" cy="4430169"/>
          </a:xfrm>
        </p:spPr>
        <p:txBody>
          <a:bodyPr/>
          <a:lstStyle/>
          <a:p>
            <a:r>
              <a:rPr lang="fi-FI"/>
              <a:t>Lisää kuva</a:t>
            </a:r>
          </a:p>
        </p:txBody>
      </p:sp>
      <p:sp>
        <p:nvSpPr>
          <p:cNvPr id="10" name="Content Placeholder 4">
            <a:extLst>
              <a:ext uri="{FF2B5EF4-FFF2-40B4-BE49-F238E27FC236}">
                <a16:creationId xmlns:a16="http://schemas.microsoft.com/office/drawing/2014/main" id="{9A8395B7-3433-814B-BADB-B03241DCA415}"/>
              </a:ext>
            </a:extLst>
          </p:cNvPr>
          <p:cNvSpPr>
            <a:spLocks noGrp="1"/>
          </p:cNvSpPr>
          <p:nvPr>
            <p:ph sz="quarter" idx="18" hasCustomPrompt="1"/>
          </p:nvPr>
        </p:nvSpPr>
        <p:spPr>
          <a:xfrm>
            <a:off x="6375558" y="1738265"/>
            <a:ext cx="5230056" cy="4127369"/>
          </a:xfrm>
        </p:spPr>
        <p:txBody>
          <a:bodyPr/>
          <a:lstStyle>
            <a:lvl2pPr>
              <a:defRPr/>
            </a:lvl2pPr>
            <a:lvl3pPr>
              <a:defRPr/>
            </a:lvl3pPr>
            <a:lvl4pPr>
              <a:defRPr/>
            </a:lvl4pPr>
            <a:lvl5pPr>
              <a:defRPr/>
            </a:lvl5pPr>
          </a:lstStyle>
          <a:p>
            <a:pPr lvl="0"/>
            <a:r>
              <a:rPr lang="en-US" err="1"/>
              <a:t>Muokkaa</a:t>
            </a:r>
            <a:r>
              <a:rPr lang="en-US"/>
              <a:t> </a:t>
            </a:r>
            <a:r>
              <a:rPr lang="en-US" err="1"/>
              <a:t>tekstiä</a:t>
            </a:r>
            <a:endParaRPr lang="en-US"/>
          </a:p>
          <a:p>
            <a:pPr lvl="1"/>
            <a:r>
              <a:rPr lang="en-US" err="1"/>
              <a:t>Toinen</a:t>
            </a:r>
            <a:r>
              <a:rPr lang="en-US"/>
              <a:t> </a:t>
            </a:r>
            <a:r>
              <a:rPr lang="en-US" err="1"/>
              <a:t>taso</a:t>
            </a:r>
            <a:endParaRPr lang="en-US"/>
          </a:p>
          <a:p>
            <a:pPr lvl="2"/>
            <a:r>
              <a:rPr lang="en-US" err="1"/>
              <a:t>Kolmas</a:t>
            </a:r>
            <a:r>
              <a:rPr lang="en-US"/>
              <a:t> </a:t>
            </a:r>
            <a:r>
              <a:rPr lang="en-US" err="1"/>
              <a:t>taso</a:t>
            </a:r>
            <a:endParaRPr lang="en-US"/>
          </a:p>
          <a:p>
            <a:pPr lvl="3"/>
            <a:r>
              <a:rPr lang="en-US" err="1"/>
              <a:t>Neljäs</a:t>
            </a:r>
            <a:r>
              <a:rPr lang="en-US"/>
              <a:t> </a:t>
            </a:r>
            <a:r>
              <a:rPr lang="en-US" err="1"/>
              <a:t>taso</a:t>
            </a:r>
            <a:endParaRPr lang="en-US"/>
          </a:p>
          <a:p>
            <a:pPr lvl="4"/>
            <a:r>
              <a:rPr lang="en-US" err="1"/>
              <a:t>Viides</a:t>
            </a:r>
            <a:r>
              <a:rPr lang="en-US"/>
              <a:t> </a:t>
            </a:r>
            <a:r>
              <a:rPr lang="en-US" err="1"/>
              <a:t>taso</a:t>
            </a:r>
            <a:endParaRPr lang="fi-FI"/>
          </a:p>
        </p:txBody>
      </p:sp>
      <p:sp>
        <p:nvSpPr>
          <p:cNvPr id="6" name="Title 5">
            <a:extLst>
              <a:ext uri="{FF2B5EF4-FFF2-40B4-BE49-F238E27FC236}">
                <a16:creationId xmlns:a16="http://schemas.microsoft.com/office/drawing/2014/main" id="{213DF647-1C75-7149-A176-49ECD807BD14}"/>
              </a:ext>
            </a:extLst>
          </p:cNvPr>
          <p:cNvSpPr>
            <a:spLocks noGrp="1"/>
          </p:cNvSpPr>
          <p:nvPr>
            <p:ph type="title" hasCustomPrompt="1"/>
          </p:nvPr>
        </p:nvSpPr>
        <p:spPr>
          <a:xfrm>
            <a:off x="6375558" y="472515"/>
            <a:ext cx="5230056" cy="1265749"/>
          </a:xfrm>
        </p:spPr>
        <p:txBody>
          <a:bodyPr/>
          <a:lstStyle>
            <a:lvl1pPr>
              <a:defRPr sz="2400">
                <a:solidFill>
                  <a:schemeClr val="accent1"/>
                </a:solidFill>
              </a:defRPr>
            </a:lvl1pPr>
          </a:lstStyle>
          <a:p>
            <a:r>
              <a:rPr lang="en-US"/>
              <a:t>MUOKKAA TEKSTIÄ</a:t>
            </a:r>
            <a:endParaRPr lang="fi-FI"/>
          </a:p>
        </p:txBody>
      </p:sp>
    </p:spTree>
    <p:extLst>
      <p:ext uri="{BB962C8B-B14F-4D97-AF65-F5344CB8AC3E}">
        <p14:creationId xmlns:p14="http://schemas.microsoft.com/office/powerpoint/2010/main" val="3829297642"/>
      </p:ext>
    </p:extLst>
  </p:cSld>
  <p:clrMapOvr>
    <a:masterClrMapping/>
  </p:clrMapOvr>
  <p:transition spd="slow"/>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aalea kuva tummalla tekstillä">
    <p:spTree>
      <p:nvGrpSpPr>
        <p:cNvPr id="1" name=""/>
        <p:cNvGrpSpPr/>
        <p:nvPr/>
      </p:nvGrpSpPr>
      <p:grpSpPr>
        <a:xfrm>
          <a:off x="0" y="0"/>
          <a:ext cx="0" cy="0"/>
          <a:chOff x="0" y="0"/>
          <a:chExt cx="0" cy="0"/>
        </a:xfrm>
      </p:grpSpPr>
      <p:sp>
        <p:nvSpPr>
          <p:cNvPr id="14" name="Date Placeholder 2">
            <a:extLst>
              <a:ext uri="{FF2B5EF4-FFF2-40B4-BE49-F238E27FC236}">
                <a16:creationId xmlns:a16="http://schemas.microsoft.com/office/drawing/2014/main" id="{3CEA6022-AD32-3842-B0E0-EF7860A4A746}"/>
              </a:ext>
            </a:extLst>
          </p:cNvPr>
          <p:cNvSpPr>
            <a:spLocks noGrp="1"/>
          </p:cNvSpPr>
          <p:nvPr>
            <p:ph type="dt" sz="half" idx="2"/>
          </p:nvPr>
        </p:nvSpPr>
        <p:spPr>
          <a:xfrm>
            <a:off x="1298279" y="6559865"/>
            <a:ext cx="2740321" cy="141878"/>
          </a:xfrm>
          <a:prstGeom prst="rect">
            <a:avLst/>
          </a:prstGeom>
        </p:spPr>
        <p:txBody>
          <a:bodyPr vert="horz" lIns="91440" tIns="45720" rIns="91440" bIns="45720" rtlCol="0" anchor="ctr"/>
          <a:lstStyle>
            <a:lvl1pPr algn="l">
              <a:defRPr sz="900">
                <a:solidFill>
                  <a:schemeClr val="tx2"/>
                </a:solidFill>
              </a:defRPr>
            </a:lvl1pPr>
          </a:lstStyle>
          <a:p>
            <a:fld id="{5C25281D-0BFE-B747-A6AC-36FF14DFC95C}" type="datetime1">
              <a:rPr lang="fi-FI" smtClean="0"/>
              <a:t>29.4.2022</a:t>
            </a:fld>
            <a:endParaRPr lang="fi-FI"/>
          </a:p>
        </p:txBody>
      </p:sp>
      <p:sp>
        <p:nvSpPr>
          <p:cNvPr id="13" name="Alatunnisteen paikkamerkki 1">
            <a:extLst>
              <a:ext uri="{FF2B5EF4-FFF2-40B4-BE49-F238E27FC236}">
                <a16:creationId xmlns:a16="http://schemas.microsoft.com/office/drawing/2014/main" id="{F9A3BFF9-9B02-4E41-ACEB-074EBA969986}"/>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a:solidFill>
                  <a:schemeClr val="accent3"/>
                </a:solidFill>
              </a:defRPr>
            </a:lvl1pPr>
          </a:lstStyle>
          <a:p>
            <a:endParaRPr lang="fi-FI"/>
          </a:p>
        </p:txBody>
      </p:sp>
      <p:sp>
        <p:nvSpPr>
          <p:cNvPr id="15" name="Picture Placeholder 1">
            <a:extLst>
              <a:ext uri="{FF2B5EF4-FFF2-40B4-BE49-F238E27FC236}">
                <a16:creationId xmlns:a16="http://schemas.microsoft.com/office/drawing/2014/main" id="{D5FC0C27-B03A-A448-BBA0-9FB2061B428D}"/>
              </a:ext>
            </a:extLst>
          </p:cNvPr>
          <p:cNvSpPr>
            <a:spLocks noGrp="1"/>
          </p:cNvSpPr>
          <p:nvPr>
            <p:ph type="pic" sz="quarter" idx="10" hasCustomPrompt="1"/>
          </p:nvPr>
        </p:nvSpPr>
        <p:spPr>
          <a:xfrm>
            <a:off x="0" y="0"/>
            <a:ext cx="12192000" cy="6858000"/>
          </a:xfrm>
        </p:spPr>
        <p:txBody>
          <a:bodyPr/>
          <a:lstStyle/>
          <a:p>
            <a:r>
              <a:rPr lang="fi-FI"/>
              <a:t>Lisää vaalea kuva</a:t>
            </a:r>
          </a:p>
        </p:txBody>
      </p:sp>
      <p:sp>
        <p:nvSpPr>
          <p:cNvPr id="16" name="Text Placeholder 5">
            <a:extLst>
              <a:ext uri="{FF2B5EF4-FFF2-40B4-BE49-F238E27FC236}">
                <a16:creationId xmlns:a16="http://schemas.microsoft.com/office/drawing/2014/main" id="{3ACC929B-6754-E441-998E-6BC2E8755210}"/>
              </a:ext>
            </a:extLst>
          </p:cNvPr>
          <p:cNvSpPr>
            <a:spLocks noGrp="1"/>
          </p:cNvSpPr>
          <p:nvPr>
            <p:ph type="body" sz="quarter" idx="19" hasCustomPrompt="1"/>
          </p:nvPr>
        </p:nvSpPr>
        <p:spPr>
          <a:xfrm>
            <a:off x="2288732" y="2850091"/>
            <a:ext cx="7614535" cy="1157817"/>
          </a:xfrm>
        </p:spPr>
        <p:txBody>
          <a:bodyPr/>
          <a:lstStyle>
            <a:lvl1pPr algn="ctr">
              <a:buNone/>
              <a:defRPr sz="6000" b="1" i="0">
                <a:solidFill>
                  <a:schemeClr val="accent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fi-FI"/>
              <a:t>MUOKKAA TEKSTIÄ</a:t>
            </a:r>
          </a:p>
        </p:txBody>
      </p:sp>
      <p:sp>
        <p:nvSpPr>
          <p:cNvPr id="17" name="Tekstin paikkamerkki 3">
            <a:extLst>
              <a:ext uri="{FF2B5EF4-FFF2-40B4-BE49-F238E27FC236}">
                <a16:creationId xmlns:a16="http://schemas.microsoft.com/office/drawing/2014/main" id="{92E74732-0283-7242-AF57-703CB89C3897}"/>
              </a:ext>
            </a:extLst>
          </p:cNvPr>
          <p:cNvSpPr>
            <a:spLocks noGrp="1"/>
          </p:cNvSpPr>
          <p:nvPr>
            <p:ph type="body" sz="quarter" idx="20" hasCustomPrompt="1"/>
          </p:nvPr>
        </p:nvSpPr>
        <p:spPr>
          <a:xfrm>
            <a:off x="2288733" y="4007908"/>
            <a:ext cx="7614534" cy="605367"/>
          </a:xfrm>
        </p:spPr>
        <p:txBody>
          <a:bodyPr>
            <a:normAutofit/>
          </a:bodyPr>
          <a:lstStyle>
            <a:lvl1pPr marL="0" indent="0" algn="ctr">
              <a:lnSpc>
                <a:spcPct val="80000"/>
              </a:lnSpc>
              <a:buNone/>
              <a:defRPr sz="3200" b="1">
                <a:solidFill>
                  <a:schemeClr val="accent1"/>
                </a:solidFill>
              </a:defRPr>
            </a:lvl1pPr>
            <a:lvl2pPr marL="239177" indent="0">
              <a:buNone/>
              <a:defRPr/>
            </a:lvl2pPr>
            <a:lvl3pPr marL="474121" indent="0">
              <a:buNone/>
              <a:defRPr/>
            </a:lvl3pPr>
            <a:lvl4pPr marL="601118" indent="0">
              <a:buNone/>
              <a:defRPr/>
            </a:lvl4pPr>
            <a:lvl5pPr marL="719649" indent="0">
              <a:buNone/>
              <a:defRPr/>
            </a:lvl5pPr>
          </a:lstStyle>
          <a:p>
            <a:pPr lvl="0"/>
            <a:r>
              <a:rPr lang="fi-FI"/>
              <a:t>Muokkaa tekstiä</a:t>
            </a:r>
          </a:p>
        </p:txBody>
      </p:sp>
      <p:sp>
        <p:nvSpPr>
          <p:cNvPr id="3" name="Tekstin paikkamerkki 2">
            <a:extLst>
              <a:ext uri="{FF2B5EF4-FFF2-40B4-BE49-F238E27FC236}">
                <a16:creationId xmlns:a16="http://schemas.microsoft.com/office/drawing/2014/main" id="{C8A6B41D-F700-4F60-B5DF-CAFD11D64242}"/>
              </a:ext>
            </a:extLst>
          </p:cNvPr>
          <p:cNvSpPr>
            <a:spLocks noGrp="1"/>
          </p:cNvSpPr>
          <p:nvPr>
            <p:ph type="body" sz="quarter" idx="21" hasCustomPrompt="1"/>
          </p:nvPr>
        </p:nvSpPr>
        <p:spPr>
          <a:xfrm>
            <a:off x="10089751" y="6142764"/>
            <a:ext cx="1782003" cy="457339"/>
          </a:xfrm>
          <a:blipFill>
            <a:blip r:embed="rId2"/>
            <a:stretch>
              <a:fillRect/>
            </a:stretch>
          </a:blipFill>
        </p:spPr>
        <p:txBody>
          <a:bodyPr/>
          <a:lstStyle>
            <a:lvl1pPr marL="0" indent="0">
              <a:buNone/>
              <a:defRPr>
                <a:solidFill>
                  <a:schemeClr val="accent3">
                    <a:alpha val="0"/>
                  </a:schemeClr>
                </a:solidFill>
              </a:defRPr>
            </a:lvl1pPr>
          </a:lstStyle>
          <a:p>
            <a:pPr lvl="0"/>
            <a:r>
              <a:rPr lang="fi-FI"/>
              <a:t>  </a:t>
            </a:r>
          </a:p>
        </p:txBody>
      </p:sp>
    </p:spTree>
    <p:extLst>
      <p:ext uri="{BB962C8B-B14F-4D97-AF65-F5344CB8AC3E}">
        <p14:creationId xmlns:p14="http://schemas.microsoft.com/office/powerpoint/2010/main" val="2261406246"/>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umma kuva vaalealla tekstillä">
    <p:spTree>
      <p:nvGrpSpPr>
        <p:cNvPr id="1" name=""/>
        <p:cNvGrpSpPr/>
        <p:nvPr/>
      </p:nvGrpSpPr>
      <p:grpSpPr>
        <a:xfrm>
          <a:off x="0" y="0"/>
          <a:ext cx="0" cy="0"/>
          <a:chOff x="0" y="0"/>
          <a:chExt cx="0" cy="0"/>
        </a:xfrm>
      </p:grpSpPr>
      <p:sp>
        <p:nvSpPr>
          <p:cNvPr id="11" name="Date Placeholder 2">
            <a:extLst>
              <a:ext uri="{FF2B5EF4-FFF2-40B4-BE49-F238E27FC236}">
                <a16:creationId xmlns:a16="http://schemas.microsoft.com/office/drawing/2014/main" id="{E0D8D16C-C776-8247-A78F-AA4C3C9671C1}"/>
              </a:ext>
            </a:extLst>
          </p:cNvPr>
          <p:cNvSpPr>
            <a:spLocks noGrp="1"/>
          </p:cNvSpPr>
          <p:nvPr>
            <p:ph type="dt" sz="half" idx="2"/>
          </p:nvPr>
        </p:nvSpPr>
        <p:spPr>
          <a:xfrm>
            <a:off x="1298279" y="6559865"/>
            <a:ext cx="2740321" cy="141878"/>
          </a:xfrm>
          <a:prstGeom prst="rect">
            <a:avLst/>
          </a:prstGeom>
        </p:spPr>
        <p:txBody>
          <a:bodyPr vert="horz" lIns="91440" tIns="45720" rIns="91440" bIns="45720" rtlCol="0" anchor="ctr"/>
          <a:lstStyle>
            <a:lvl1pPr algn="l">
              <a:defRPr sz="900">
                <a:solidFill>
                  <a:schemeClr val="tx2"/>
                </a:solidFill>
              </a:defRPr>
            </a:lvl1pPr>
          </a:lstStyle>
          <a:p>
            <a:fld id="{62E64768-BBF5-944C-A686-A925B5B737A1}" type="datetime1">
              <a:rPr lang="fi-FI" smtClean="0"/>
              <a:t>29.4.2022</a:t>
            </a:fld>
            <a:endParaRPr lang="fi-FI"/>
          </a:p>
        </p:txBody>
      </p:sp>
      <p:sp>
        <p:nvSpPr>
          <p:cNvPr id="9" name="Alatunnisteen paikkamerkki 1">
            <a:extLst>
              <a:ext uri="{FF2B5EF4-FFF2-40B4-BE49-F238E27FC236}">
                <a16:creationId xmlns:a16="http://schemas.microsoft.com/office/drawing/2014/main" id="{5F1EFE5D-F077-7043-9C68-14568325ED61}"/>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a:solidFill>
                  <a:schemeClr val="accent3"/>
                </a:solidFill>
              </a:defRPr>
            </a:lvl1pPr>
          </a:lstStyle>
          <a:p>
            <a:endParaRPr lang="fi-FI"/>
          </a:p>
        </p:txBody>
      </p:sp>
      <p:sp>
        <p:nvSpPr>
          <p:cNvPr id="12" name="Picture Placeholder 1">
            <a:extLst>
              <a:ext uri="{FF2B5EF4-FFF2-40B4-BE49-F238E27FC236}">
                <a16:creationId xmlns:a16="http://schemas.microsoft.com/office/drawing/2014/main" id="{99712942-C257-3E45-8369-CC6F3A038987}"/>
              </a:ext>
            </a:extLst>
          </p:cNvPr>
          <p:cNvSpPr>
            <a:spLocks noGrp="1"/>
          </p:cNvSpPr>
          <p:nvPr>
            <p:ph type="pic" sz="quarter" idx="10" hasCustomPrompt="1"/>
          </p:nvPr>
        </p:nvSpPr>
        <p:spPr>
          <a:xfrm>
            <a:off x="0" y="0"/>
            <a:ext cx="12192000" cy="6858000"/>
          </a:xfrm>
        </p:spPr>
        <p:txBody>
          <a:bodyPr/>
          <a:lstStyle/>
          <a:p>
            <a:r>
              <a:rPr lang="fi-FI"/>
              <a:t>Lisää tumma kuva</a:t>
            </a:r>
          </a:p>
        </p:txBody>
      </p:sp>
      <p:sp>
        <p:nvSpPr>
          <p:cNvPr id="7" name="Text Placeholder 5">
            <a:extLst>
              <a:ext uri="{FF2B5EF4-FFF2-40B4-BE49-F238E27FC236}">
                <a16:creationId xmlns:a16="http://schemas.microsoft.com/office/drawing/2014/main" id="{538492A3-FD1B-EF4A-950F-254C00CD4ED8}"/>
              </a:ext>
            </a:extLst>
          </p:cNvPr>
          <p:cNvSpPr>
            <a:spLocks noGrp="1"/>
          </p:cNvSpPr>
          <p:nvPr>
            <p:ph type="body" sz="quarter" idx="19" hasCustomPrompt="1"/>
          </p:nvPr>
        </p:nvSpPr>
        <p:spPr>
          <a:xfrm>
            <a:off x="2288732" y="2850091"/>
            <a:ext cx="7614535" cy="1157817"/>
          </a:xfrm>
        </p:spPr>
        <p:txBody>
          <a:bodyPr/>
          <a:lstStyle>
            <a:lvl1pPr algn="ctr">
              <a:buNone/>
              <a:defRPr sz="60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fi-FI"/>
              <a:t>MUOKKAA TEKSTIÄ</a:t>
            </a:r>
          </a:p>
        </p:txBody>
      </p:sp>
      <p:sp>
        <p:nvSpPr>
          <p:cNvPr id="8" name="Tekstin paikkamerkki 3">
            <a:extLst>
              <a:ext uri="{FF2B5EF4-FFF2-40B4-BE49-F238E27FC236}">
                <a16:creationId xmlns:a16="http://schemas.microsoft.com/office/drawing/2014/main" id="{2834BC92-4180-D24F-ABB7-10F692CC6139}"/>
              </a:ext>
            </a:extLst>
          </p:cNvPr>
          <p:cNvSpPr>
            <a:spLocks noGrp="1"/>
          </p:cNvSpPr>
          <p:nvPr>
            <p:ph type="body" sz="quarter" idx="20" hasCustomPrompt="1"/>
          </p:nvPr>
        </p:nvSpPr>
        <p:spPr>
          <a:xfrm>
            <a:off x="2288733" y="4007908"/>
            <a:ext cx="7614534" cy="605367"/>
          </a:xfrm>
        </p:spPr>
        <p:txBody>
          <a:bodyPr>
            <a:normAutofit/>
          </a:bodyPr>
          <a:lstStyle>
            <a:lvl1pPr marL="0" indent="0" algn="ctr">
              <a:lnSpc>
                <a:spcPct val="80000"/>
              </a:lnSpc>
              <a:buNone/>
              <a:defRPr sz="3200" b="1">
                <a:solidFill>
                  <a:schemeClr val="bg1"/>
                </a:solidFill>
              </a:defRPr>
            </a:lvl1pPr>
            <a:lvl2pPr marL="239177" indent="0">
              <a:buNone/>
              <a:defRPr/>
            </a:lvl2pPr>
            <a:lvl3pPr marL="474121" indent="0">
              <a:buNone/>
              <a:defRPr/>
            </a:lvl3pPr>
            <a:lvl4pPr marL="601118" indent="0">
              <a:buNone/>
              <a:defRPr/>
            </a:lvl4pPr>
            <a:lvl5pPr marL="719649" indent="0">
              <a:buNone/>
              <a:defRPr/>
            </a:lvl5pPr>
          </a:lstStyle>
          <a:p>
            <a:pPr lvl="0"/>
            <a:r>
              <a:rPr lang="fi-FI"/>
              <a:t>Muokkaa tekstiä</a:t>
            </a:r>
          </a:p>
        </p:txBody>
      </p:sp>
      <p:sp>
        <p:nvSpPr>
          <p:cNvPr id="3" name="Tekstin paikkamerkki 2">
            <a:extLst>
              <a:ext uri="{FF2B5EF4-FFF2-40B4-BE49-F238E27FC236}">
                <a16:creationId xmlns:a16="http://schemas.microsoft.com/office/drawing/2014/main" id="{BE78ED0C-9298-4A1C-B0E1-0A071F5937B9}"/>
              </a:ext>
            </a:extLst>
          </p:cNvPr>
          <p:cNvSpPr>
            <a:spLocks noGrp="1"/>
          </p:cNvSpPr>
          <p:nvPr>
            <p:ph type="body" sz="quarter" idx="21" hasCustomPrompt="1"/>
          </p:nvPr>
        </p:nvSpPr>
        <p:spPr>
          <a:xfrm>
            <a:off x="10089595" y="6140728"/>
            <a:ext cx="1782709" cy="457559"/>
          </a:xfrm>
          <a:blipFill>
            <a:blip r:embed="rId2"/>
            <a:stretch>
              <a:fillRect/>
            </a:stretch>
          </a:blipFill>
        </p:spPr>
        <p:txBody>
          <a:bodyPr/>
          <a:lstStyle>
            <a:lvl1pPr marL="0" indent="0">
              <a:buNone/>
              <a:defRPr>
                <a:solidFill>
                  <a:schemeClr val="accent3">
                    <a:alpha val="0"/>
                  </a:schemeClr>
                </a:solidFill>
              </a:defRPr>
            </a:lvl1pPr>
          </a:lstStyle>
          <a:p>
            <a:pPr lvl="0"/>
            <a:r>
              <a:rPr lang="fi-FI"/>
              <a:t>  </a:t>
            </a:r>
          </a:p>
        </p:txBody>
      </p:sp>
    </p:spTree>
    <p:extLst>
      <p:ext uri="{BB962C8B-B14F-4D97-AF65-F5344CB8AC3E}">
        <p14:creationId xmlns:p14="http://schemas.microsoft.com/office/powerpoint/2010/main" val="3906649398"/>
      </p:ext>
    </p:extLst>
  </p:cSld>
  <p:clrMapOvr>
    <a:masterClrMapping/>
  </p:clrMapOvr>
  <p:transition spd="slow"/>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uva ja teksti 12">
    <p:spTree>
      <p:nvGrpSpPr>
        <p:cNvPr id="1" name=""/>
        <p:cNvGrpSpPr/>
        <p:nvPr/>
      </p:nvGrpSpPr>
      <p:grpSpPr>
        <a:xfrm>
          <a:off x="0" y="0"/>
          <a:ext cx="0" cy="0"/>
          <a:chOff x="0" y="0"/>
          <a:chExt cx="0" cy="0"/>
        </a:xfrm>
      </p:grpSpPr>
      <p:sp>
        <p:nvSpPr>
          <p:cNvPr id="14" name="Picture Placeholder 12">
            <a:extLst>
              <a:ext uri="{FF2B5EF4-FFF2-40B4-BE49-F238E27FC236}">
                <a16:creationId xmlns:a16="http://schemas.microsoft.com/office/drawing/2014/main" id="{44671836-B997-CB4A-9F0C-CB0AB22B7A0D}"/>
              </a:ext>
            </a:extLst>
          </p:cNvPr>
          <p:cNvSpPr>
            <a:spLocks noGrp="1"/>
          </p:cNvSpPr>
          <p:nvPr>
            <p:ph type="pic" sz="quarter" idx="19" hasCustomPrompt="1"/>
          </p:nvPr>
        </p:nvSpPr>
        <p:spPr>
          <a:xfrm>
            <a:off x="210591" y="0"/>
            <a:ext cx="2894806" cy="1876300"/>
          </a:xfrm>
        </p:spPr>
        <p:txBody>
          <a:bodyPr/>
          <a:lstStyle/>
          <a:p>
            <a:r>
              <a:rPr lang="fi-FI"/>
              <a:t>Lisää kuva</a:t>
            </a:r>
          </a:p>
        </p:txBody>
      </p:sp>
      <p:sp>
        <p:nvSpPr>
          <p:cNvPr id="4" name="Rectangle 3">
            <a:extLst>
              <a:ext uri="{FF2B5EF4-FFF2-40B4-BE49-F238E27FC236}">
                <a16:creationId xmlns:a16="http://schemas.microsoft.com/office/drawing/2014/main" id="{89BA8F1D-FBB5-6344-9CD5-23AD9DEA3B25}"/>
              </a:ext>
            </a:extLst>
          </p:cNvPr>
          <p:cNvSpPr/>
          <p:nvPr userDrawn="1"/>
        </p:nvSpPr>
        <p:spPr>
          <a:xfrm>
            <a:off x="5221357" y="6599583"/>
            <a:ext cx="1789043" cy="25841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err="1">
              <a:solidFill>
                <a:schemeClr val="bg1"/>
              </a:solidFill>
              <a:latin typeface="Open Sans" panose="020B0606030504020204" pitchFamily="34" charset="0"/>
              <a:ea typeface="Muli" charset="0"/>
              <a:cs typeface="Muli" charset="0"/>
            </a:endParaRPr>
          </a:p>
        </p:txBody>
      </p:sp>
      <p:sp>
        <p:nvSpPr>
          <p:cNvPr id="18" name="TextBox 17">
            <a:extLst>
              <a:ext uri="{FF2B5EF4-FFF2-40B4-BE49-F238E27FC236}">
                <a16:creationId xmlns:a16="http://schemas.microsoft.com/office/drawing/2014/main" id="{6DAC1C83-BEE0-8F44-8973-6640D883A88D}"/>
              </a:ext>
            </a:extLst>
          </p:cNvPr>
          <p:cNvSpPr txBox="1"/>
          <p:nvPr userDrawn="1"/>
        </p:nvSpPr>
        <p:spPr>
          <a:xfrm>
            <a:off x="487879" y="3916878"/>
            <a:ext cx="2529444" cy="290529"/>
          </a:xfrm>
          <a:prstGeom prst="rect">
            <a:avLst/>
          </a:prstGeom>
          <a:noFill/>
        </p:spPr>
        <p:txBody>
          <a:bodyPr wrap="square" rtlCol="0">
            <a:spAutoFit/>
          </a:bodyPr>
          <a:lstStyle/>
          <a:p>
            <a:pPr algn="l">
              <a:lnSpc>
                <a:spcPct val="92000"/>
              </a:lnSpc>
              <a:buClr>
                <a:schemeClr val="accent5"/>
              </a:buClr>
            </a:pPr>
            <a:endParaRPr lang="fi-FI" sz="1400" b="0" i="0" err="1">
              <a:solidFill>
                <a:schemeClr val="bg1"/>
              </a:solidFill>
              <a:latin typeface="Open Sans" panose="020B0606030504020204" pitchFamily="34" charset="0"/>
              <a:cs typeface="Calibri Light"/>
            </a:endParaRPr>
          </a:p>
        </p:txBody>
      </p:sp>
      <p:sp>
        <p:nvSpPr>
          <p:cNvPr id="15" name="Content Placeholder 4">
            <a:extLst>
              <a:ext uri="{FF2B5EF4-FFF2-40B4-BE49-F238E27FC236}">
                <a16:creationId xmlns:a16="http://schemas.microsoft.com/office/drawing/2014/main" id="{B1D23CCC-1DD0-C04A-BC5C-FC0C0A72263E}"/>
              </a:ext>
            </a:extLst>
          </p:cNvPr>
          <p:cNvSpPr>
            <a:spLocks noGrp="1"/>
          </p:cNvSpPr>
          <p:nvPr>
            <p:ph sz="quarter" idx="18" hasCustomPrompt="1"/>
          </p:nvPr>
        </p:nvSpPr>
        <p:spPr>
          <a:xfrm>
            <a:off x="6743700" y="1738264"/>
            <a:ext cx="4861914" cy="4131571"/>
          </a:xfrm>
        </p:spPr>
        <p:txBody>
          <a:bodyPr/>
          <a:lstStyle>
            <a:lvl2pPr>
              <a:defRPr/>
            </a:lvl2pPr>
            <a:lvl3pPr>
              <a:defRPr/>
            </a:lvl3pPr>
            <a:lvl4pPr>
              <a:defRPr/>
            </a:lvl4pPr>
            <a:lvl5pPr>
              <a:defRPr/>
            </a:lvl5pPr>
          </a:lstStyle>
          <a:p>
            <a:pPr lvl="0"/>
            <a:r>
              <a:rPr lang="en-US" err="1"/>
              <a:t>Muokkaa</a:t>
            </a:r>
            <a:r>
              <a:rPr lang="en-US"/>
              <a:t> </a:t>
            </a:r>
            <a:r>
              <a:rPr lang="en-US" err="1"/>
              <a:t>tekstiä</a:t>
            </a:r>
            <a:endParaRPr lang="en-US"/>
          </a:p>
          <a:p>
            <a:pPr lvl="1"/>
            <a:r>
              <a:rPr lang="en-US" err="1"/>
              <a:t>Toinen</a:t>
            </a:r>
            <a:r>
              <a:rPr lang="en-US"/>
              <a:t> </a:t>
            </a:r>
            <a:r>
              <a:rPr lang="en-US" err="1"/>
              <a:t>taso</a:t>
            </a:r>
            <a:endParaRPr lang="en-US"/>
          </a:p>
          <a:p>
            <a:pPr lvl="2"/>
            <a:r>
              <a:rPr lang="en-US" err="1"/>
              <a:t>Kolmas</a:t>
            </a:r>
            <a:r>
              <a:rPr lang="en-US"/>
              <a:t> </a:t>
            </a:r>
            <a:r>
              <a:rPr lang="en-US" err="1"/>
              <a:t>taso</a:t>
            </a:r>
            <a:endParaRPr lang="en-US"/>
          </a:p>
          <a:p>
            <a:pPr lvl="3"/>
            <a:r>
              <a:rPr lang="en-US" err="1"/>
              <a:t>Neljäs</a:t>
            </a:r>
            <a:r>
              <a:rPr lang="en-US"/>
              <a:t> </a:t>
            </a:r>
            <a:r>
              <a:rPr lang="en-US" err="1"/>
              <a:t>taso</a:t>
            </a:r>
            <a:endParaRPr lang="en-US"/>
          </a:p>
          <a:p>
            <a:pPr lvl="4"/>
            <a:r>
              <a:rPr lang="en-US" err="1"/>
              <a:t>Viides</a:t>
            </a:r>
            <a:r>
              <a:rPr lang="en-US"/>
              <a:t> </a:t>
            </a:r>
            <a:r>
              <a:rPr lang="en-US" err="1"/>
              <a:t>taso</a:t>
            </a:r>
            <a:endParaRPr lang="fi-FI"/>
          </a:p>
        </p:txBody>
      </p:sp>
      <p:sp>
        <p:nvSpPr>
          <p:cNvPr id="2" name="Title 1">
            <a:extLst>
              <a:ext uri="{FF2B5EF4-FFF2-40B4-BE49-F238E27FC236}">
                <a16:creationId xmlns:a16="http://schemas.microsoft.com/office/drawing/2014/main" id="{0B9F8CE0-68E4-0D42-8A6A-8C109292915E}"/>
              </a:ext>
            </a:extLst>
          </p:cNvPr>
          <p:cNvSpPr>
            <a:spLocks noGrp="1"/>
          </p:cNvSpPr>
          <p:nvPr>
            <p:ph type="title" hasCustomPrompt="1"/>
          </p:nvPr>
        </p:nvSpPr>
        <p:spPr>
          <a:xfrm>
            <a:off x="6743700" y="472516"/>
            <a:ext cx="4861914" cy="1265749"/>
          </a:xfrm>
        </p:spPr>
        <p:txBody>
          <a:bodyPr/>
          <a:lstStyle>
            <a:lvl1pPr>
              <a:defRPr sz="2400">
                <a:solidFill>
                  <a:schemeClr val="accent1"/>
                </a:solidFill>
              </a:defRPr>
            </a:lvl1pPr>
          </a:lstStyle>
          <a:p>
            <a:r>
              <a:rPr lang="en-US"/>
              <a:t>MUOKKAA TEKSTIÄ</a:t>
            </a:r>
            <a:endParaRPr lang="fi-FI"/>
          </a:p>
        </p:txBody>
      </p:sp>
      <p:sp>
        <p:nvSpPr>
          <p:cNvPr id="12" name="Date Placeholder 2">
            <a:extLst>
              <a:ext uri="{FF2B5EF4-FFF2-40B4-BE49-F238E27FC236}">
                <a16:creationId xmlns:a16="http://schemas.microsoft.com/office/drawing/2014/main" id="{9B4758FD-4826-D446-A8D2-F49B17251F4D}"/>
              </a:ext>
            </a:extLst>
          </p:cNvPr>
          <p:cNvSpPr>
            <a:spLocks noGrp="1"/>
          </p:cNvSpPr>
          <p:nvPr>
            <p:ph type="dt" sz="half" idx="2"/>
          </p:nvPr>
        </p:nvSpPr>
        <p:spPr>
          <a:xfrm>
            <a:off x="1298279" y="6554288"/>
            <a:ext cx="744937" cy="164911"/>
          </a:xfrm>
          <a:prstGeom prst="rect">
            <a:avLst/>
          </a:prstGeom>
        </p:spPr>
        <p:txBody>
          <a:bodyPr vert="horz" lIns="91440" tIns="45720" rIns="91440" bIns="45720" rtlCol="0" anchor="ctr"/>
          <a:lstStyle>
            <a:lvl1pPr algn="l">
              <a:defRPr sz="900">
                <a:solidFill>
                  <a:schemeClr val="tx2"/>
                </a:solidFill>
              </a:defRPr>
            </a:lvl1pPr>
          </a:lstStyle>
          <a:p>
            <a:fld id="{96ADDA07-F072-ED43-A246-296F5508470F}" type="datetime1">
              <a:rPr lang="fi-FI" smtClean="0"/>
              <a:t>29.4.2022</a:t>
            </a:fld>
            <a:endParaRPr lang="fi-FI"/>
          </a:p>
        </p:txBody>
      </p:sp>
      <p:sp>
        <p:nvSpPr>
          <p:cNvPr id="3" name="Rectangle 2">
            <a:extLst>
              <a:ext uri="{FF2B5EF4-FFF2-40B4-BE49-F238E27FC236}">
                <a16:creationId xmlns:a16="http://schemas.microsoft.com/office/drawing/2014/main" id="{D40134A6-93A3-2B41-B393-F8C4592EF40C}"/>
              </a:ext>
            </a:extLst>
          </p:cNvPr>
          <p:cNvSpPr/>
          <p:nvPr userDrawn="1"/>
        </p:nvSpPr>
        <p:spPr>
          <a:xfrm>
            <a:off x="0" y="5700158"/>
            <a:ext cx="2177716" cy="11578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200" b="0" i="0">
                <a:solidFill>
                  <a:schemeClr val="bg1"/>
                </a:solidFill>
                <a:latin typeface="Open Sans" panose="020B0606030504020204" pitchFamily="34" charset="0"/>
                <a:ea typeface="Muli" charset="0"/>
                <a:cs typeface="Muli" charset="0"/>
              </a:rPr>
              <a:t>v</a:t>
            </a:r>
          </a:p>
        </p:txBody>
      </p:sp>
      <p:sp>
        <p:nvSpPr>
          <p:cNvPr id="16" name="Picture Placeholder 12">
            <a:extLst>
              <a:ext uri="{FF2B5EF4-FFF2-40B4-BE49-F238E27FC236}">
                <a16:creationId xmlns:a16="http://schemas.microsoft.com/office/drawing/2014/main" id="{973146F5-FEEE-3442-B1D0-5F998B8FD37F}"/>
              </a:ext>
            </a:extLst>
          </p:cNvPr>
          <p:cNvSpPr>
            <a:spLocks noGrp="1"/>
          </p:cNvSpPr>
          <p:nvPr>
            <p:ph type="pic" sz="quarter" idx="20" hasCustomPrompt="1"/>
          </p:nvPr>
        </p:nvSpPr>
        <p:spPr>
          <a:xfrm>
            <a:off x="3296196" y="0"/>
            <a:ext cx="2894806" cy="1119028"/>
          </a:xfrm>
        </p:spPr>
        <p:txBody>
          <a:bodyPr/>
          <a:lstStyle/>
          <a:p>
            <a:r>
              <a:rPr lang="fi-FI"/>
              <a:t>Lisää kuva</a:t>
            </a:r>
          </a:p>
        </p:txBody>
      </p:sp>
      <p:sp>
        <p:nvSpPr>
          <p:cNvPr id="23" name="Picture Placeholder 12">
            <a:extLst>
              <a:ext uri="{FF2B5EF4-FFF2-40B4-BE49-F238E27FC236}">
                <a16:creationId xmlns:a16="http://schemas.microsoft.com/office/drawing/2014/main" id="{F1AD16DB-AEC6-E049-83BC-F5F2F8AED847}"/>
              </a:ext>
            </a:extLst>
          </p:cNvPr>
          <p:cNvSpPr>
            <a:spLocks noGrp="1"/>
          </p:cNvSpPr>
          <p:nvPr>
            <p:ph type="pic" sz="quarter" idx="21" hasCustomPrompt="1"/>
          </p:nvPr>
        </p:nvSpPr>
        <p:spPr>
          <a:xfrm>
            <a:off x="3296196" y="1341302"/>
            <a:ext cx="2894806" cy="3420510"/>
          </a:xfrm>
        </p:spPr>
        <p:txBody>
          <a:bodyPr/>
          <a:lstStyle/>
          <a:p>
            <a:r>
              <a:rPr lang="fi-FI"/>
              <a:t>Lisää kuva</a:t>
            </a:r>
          </a:p>
        </p:txBody>
      </p:sp>
      <p:sp>
        <p:nvSpPr>
          <p:cNvPr id="24" name="Picture Placeholder 12">
            <a:extLst>
              <a:ext uri="{FF2B5EF4-FFF2-40B4-BE49-F238E27FC236}">
                <a16:creationId xmlns:a16="http://schemas.microsoft.com/office/drawing/2014/main" id="{9B8350DA-3263-5548-B982-CD2689172B86}"/>
              </a:ext>
            </a:extLst>
          </p:cNvPr>
          <p:cNvSpPr>
            <a:spLocks noGrp="1"/>
          </p:cNvSpPr>
          <p:nvPr>
            <p:ph type="pic" sz="quarter" idx="22" hasCustomPrompt="1"/>
          </p:nvPr>
        </p:nvSpPr>
        <p:spPr>
          <a:xfrm>
            <a:off x="210591" y="2077974"/>
            <a:ext cx="2894806" cy="3420510"/>
          </a:xfrm>
        </p:spPr>
        <p:txBody>
          <a:bodyPr/>
          <a:lstStyle/>
          <a:p>
            <a:r>
              <a:rPr lang="fi-FI"/>
              <a:t>Lisää kuva</a:t>
            </a:r>
          </a:p>
        </p:txBody>
      </p:sp>
      <p:sp>
        <p:nvSpPr>
          <p:cNvPr id="25" name="Picture Placeholder 12">
            <a:extLst>
              <a:ext uri="{FF2B5EF4-FFF2-40B4-BE49-F238E27FC236}">
                <a16:creationId xmlns:a16="http://schemas.microsoft.com/office/drawing/2014/main" id="{E44DDFDA-96C1-FB4D-9F8E-832FC536D87F}"/>
              </a:ext>
            </a:extLst>
          </p:cNvPr>
          <p:cNvSpPr>
            <a:spLocks noGrp="1"/>
          </p:cNvSpPr>
          <p:nvPr>
            <p:ph type="pic" sz="quarter" idx="23" hasCustomPrompt="1"/>
          </p:nvPr>
        </p:nvSpPr>
        <p:spPr>
          <a:xfrm>
            <a:off x="210591" y="5719564"/>
            <a:ext cx="2894806" cy="1138435"/>
          </a:xfrm>
        </p:spPr>
        <p:txBody>
          <a:bodyPr/>
          <a:lstStyle/>
          <a:p>
            <a:r>
              <a:rPr lang="fi-FI"/>
              <a:t>Lisää kuva</a:t>
            </a:r>
          </a:p>
        </p:txBody>
      </p:sp>
      <p:sp>
        <p:nvSpPr>
          <p:cNvPr id="26" name="Picture Placeholder 12">
            <a:extLst>
              <a:ext uri="{FF2B5EF4-FFF2-40B4-BE49-F238E27FC236}">
                <a16:creationId xmlns:a16="http://schemas.microsoft.com/office/drawing/2014/main" id="{F55AE7EB-9FA4-F946-A933-9739BF518013}"/>
              </a:ext>
            </a:extLst>
          </p:cNvPr>
          <p:cNvSpPr>
            <a:spLocks noGrp="1"/>
          </p:cNvSpPr>
          <p:nvPr>
            <p:ph type="pic" sz="quarter" idx="24" hasCustomPrompt="1"/>
          </p:nvPr>
        </p:nvSpPr>
        <p:spPr>
          <a:xfrm>
            <a:off x="3296196" y="4984085"/>
            <a:ext cx="2894806" cy="1873913"/>
          </a:xfrm>
        </p:spPr>
        <p:txBody>
          <a:bodyPr/>
          <a:lstStyle/>
          <a:p>
            <a:r>
              <a:rPr lang="fi-FI"/>
              <a:t>Lisää kuva</a:t>
            </a:r>
          </a:p>
        </p:txBody>
      </p:sp>
    </p:spTree>
    <p:extLst>
      <p:ext uri="{BB962C8B-B14F-4D97-AF65-F5344CB8AC3E}">
        <p14:creationId xmlns:p14="http://schemas.microsoft.com/office/powerpoint/2010/main" val="1423514537"/>
      </p:ext>
    </p:extLst>
  </p:cSld>
  <p:clrMapOvr>
    <a:masterClrMapping/>
  </p:clrMapOvr>
  <p:transition spd="slow"/>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ain otsikk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217158B-BFE6-A44F-BDEF-BE11CBC41DC5}"/>
              </a:ext>
            </a:extLst>
          </p:cNvPr>
          <p:cNvSpPr/>
          <p:nvPr userDrawn="1"/>
        </p:nvSpPr>
        <p:spPr>
          <a:xfrm>
            <a:off x="0" y="1918607"/>
            <a:ext cx="12192000" cy="302078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err="1">
              <a:solidFill>
                <a:schemeClr val="bg1"/>
              </a:solidFill>
              <a:latin typeface="Open Sans" panose="020B0606030504020204" pitchFamily="34" charset="0"/>
              <a:ea typeface="Muli" charset="0"/>
              <a:cs typeface="Muli" charset="0"/>
            </a:endParaRPr>
          </a:p>
        </p:txBody>
      </p:sp>
      <p:sp>
        <p:nvSpPr>
          <p:cNvPr id="5" name="Text Placeholder 5">
            <a:extLst>
              <a:ext uri="{FF2B5EF4-FFF2-40B4-BE49-F238E27FC236}">
                <a16:creationId xmlns:a16="http://schemas.microsoft.com/office/drawing/2014/main" id="{1917EDF2-C680-2A42-BCC0-FEB89594552F}"/>
              </a:ext>
            </a:extLst>
          </p:cNvPr>
          <p:cNvSpPr>
            <a:spLocks noGrp="1"/>
          </p:cNvSpPr>
          <p:nvPr>
            <p:ph type="body" sz="quarter" idx="19" hasCustomPrompt="1"/>
          </p:nvPr>
        </p:nvSpPr>
        <p:spPr>
          <a:xfrm>
            <a:off x="1036401" y="3126316"/>
            <a:ext cx="9871922" cy="1047099"/>
          </a:xfrm>
        </p:spPr>
        <p:txBody>
          <a:bodyPr/>
          <a:lstStyle>
            <a:lvl1pPr>
              <a:defRPr sz="36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fi-FI"/>
              <a:t>MUOKKAA TEKSTIÄ</a:t>
            </a:r>
          </a:p>
        </p:txBody>
      </p:sp>
      <p:sp>
        <p:nvSpPr>
          <p:cNvPr id="6" name="Date Placeholder 2">
            <a:extLst>
              <a:ext uri="{FF2B5EF4-FFF2-40B4-BE49-F238E27FC236}">
                <a16:creationId xmlns:a16="http://schemas.microsoft.com/office/drawing/2014/main" id="{8D06A01C-981B-4A44-83B2-D4D25EB364C3}"/>
              </a:ext>
            </a:extLst>
          </p:cNvPr>
          <p:cNvSpPr>
            <a:spLocks noGrp="1"/>
          </p:cNvSpPr>
          <p:nvPr>
            <p:ph type="dt" sz="half" idx="2"/>
          </p:nvPr>
        </p:nvSpPr>
        <p:spPr>
          <a:xfrm>
            <a:off x="1298279" y="6559865"/>
            <a:ext cx="2740321" cy="141878"/>
          </a:xfrm>
          <a:prstGeom prst="rect">
            <a:avLst/>
          </a:prstGeom>
        </p:spPr>
        <p:txBody>
          <a:bodyPr vert="horz" lIns="91440" tIns="45720" rIns="91440" bIns="45720" rtlCol="0" anchor="ctr"/>
          <a:lstStyle>
            <a:lvl1pPr algn="l">
              <a:defRPr sz="900">
                <a:solidFill>
                  <a:schemeClr val="tx2"/>
                </a:solidFill>
              </a:defRPr>
            </a:lvl1pPr>
          </a:lstStyle>
          <a:p>
            <a:fld id="{E3DA3329-0E07-D744-BABC-6341008E1871}" type="datetime1">
              <a:rPr lang="fi-FI" smtClean="0"/>
              <a:t>29.4.2022</a:t>
            </a:fld>
            <a:endParaRPr lang="fi-FI"/>
          </a:p>
        </p:txBody>
      </p:sp>
      <p:sp>
        <p:nvSpPr>
          <p:cNvPr id="7" name="Alatunnisteen paikkamerkki 1">
            <a:extLst>
              <a:ext uri="{FF2B5EF4-FFF2-40B4-BE49-F238E27FC236}">
                <a16:creationId xmlns:a16="http://schemas.microsoft.com/office/drawing/2014/main" id="{A9037C5C-F850-5147-A20B-119768F75DCB}"/>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a:solidFill>
                  <a:schemeClr val="accent3"/>
                </a:solidFill>
              </a:defRPr>
            </a:lvl1pPr>
          </a:lstStyle>
          <a:p>
            <a:endParaRPr lang="fi-FI"/>
          </a:p>
        </p:txBody>
      </p:sp>
    </p:spTree>
    <p:extLst>
      <p:ext uri="{BB962C8B-B14F-4D97-AF65-F5344CB8AC3E}">
        <p14:creationId xmlns:p14="http://schemas.microsoft.com/office/powerpoint/2010/main" val="2688789846"/>
      </p:ext>
    </p:extLst>
  </p:cSld>
  <p:clrMapOvr>
    <a:masterClrMapping/>
  </p:clrMapOvr>
  <p:transition spd="slow"/>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sp>
        <p:nvSpPr>
          <p:cNvPr id="5" name="Date Placeholder 2">
            <a:extLst>
              <a:ext uri="{FF2B5EF4-FFF2-40B4-BE49-F238E27FC236}">
                <a16:creationId xmlns:a16="http://schemas.microsoft.com/office/drawing/2014/main" id="{C39CFC87-B617-E843-ACB2-E178AB3989A1}"/>
              </a:ext>
            </a:extLst>
          </p:cNvPr>
          <p:cNvSpPr>
            <a:spLocks noGrp="1"/>
          </p:cNvSpPr>
          <p:nvPr>
            <p:ph type="dt" sz="half" idx="2"/>
          </p:nvPr>
        </p:nvSpPr>
        <p:spPr>
          <a:xfrm>
            <a:off x="1298279" y="6559865"/>
            <a:ext cx="2740321" cy="141878"/>
          </a:xfrm>
          <a:prstGeom prst="rect">
            <a:avLst/>
          </a:prstGeom>
        </p:spPr>
        <p:txBody>
          <a:bodyPr vert="horz" lIns="91440" tIns="45720" rIns="91440" bIns="45720" rtlCol="0" anchor="ctr"/>
          <a:lstStyle>
            <a:lvl1pPr algn="l">
              <a:defRPr sz="900">
                <a:solidFill>
                  <a:schemeClr val="tx2"/>
                </a:solidFill>
              </a:defRPr>
            </a:lvl1pPr>
          </a:lstStyle>
          <a:p>
            <a:fld id="{3804C455-77E2-9B45-9D19-C70C06C0E88A}" type="datetime1">
              <a:rPr lang="fi-FI" smtClean="0"/>
              <a:t>29.4.2022</a:t>
            </a:fld>
            <a:endParaRPr lang="fi-FI"/>
          </a:p>
        </p:txBody>
      </p:sp>
      <p:sp>
        <p:nvSpPr>
          <p:cNvPr id="3" name="Alatunnisteen paikkamerkki 1">
            <a:extLst>
              <a:ext uri="{FF2B5EF4-FFF2-40B4-BE49-F238E27FC236}">
                <a16:creationId xmlns:a16="http://schemas.microsoft.com/office/drawing/2014/main" id="{D96144B4-6CDA-244B-B05C-F0137E937728}"/>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a:solidFill>
                  <a:schemeClr val="accent3"/>
                </a:solidFill>
              </a:defRPr>
            </a:lvl1pPr>
          </a:lstStyle>
          <a:p>
            <a:endParaRPr lang="fi-FI"/>
          </a:p>
        </p:txBody>
      </p:sp>
    </p:spTree>
    <p:extLst>
      <p:ext uri="{BB962C8B-B14F-4D97-AF65-F5344CB8AC3E}">
        <p14:creationId xmlns:p14="http://schemas.microsoft.com/office/powerpoint/2010/main" val="1837147568"/>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8_Numerot_1">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A6228FC4-419A-424C-83DF-5DADE2655DB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53108" y="2667798"/>
            <a:ext cx="4638926" cy="1600426"/>
          </a:xfrm>
          <a:prstGeom prst="rect">
            <a:avLst/>
          </a:prstGeom>
        </p:spPr>
      </p:pic>
      <p:sp>
        <p:nvSpPr>
          <p:cNvPr id="5" name="Date Placeholder 2">
            <a:extLst>
              <a:ext uri="{FF2B5EF4-FFF2-40B4-BE49-F238E27FC236}">
                <a16:creationId xmlns:a16="http://schemas.microsoft.com/office/drawing/2014/main" id="{C39CFC87-B617-E843-ACB2-E178AB3989A1}"/>
              </a:ext>
            </a:extLst>
          </p:cNvPr>
          <p:cNvSpPr>
            <a:spLocks noGrp="1"/>
          </p:cNvSpPr>
          <p:nvPr>
            <p:ph type="dt" sz="half" idx="2"/>
          </p:nvPr>
        </p:nvSpPr>
        <p:spPr>
          <a:xfrm>
            <a:off x="1298279" y="6559865"/>
            <a:ext cx="2740321" cy="141878"/>
          </a:xfrm>
          <a:prstGeom prst="rect">
            <a:avLst/>
          </a:prstGeom>
        </p:spPr>
        <p:txBody>
          <a:bodyPr vert="horz" lIns="91440" tIns="45720" rIns="91440" bIns="45720" rtlCol="0" anchor="ctr"/>
          <a:lstStyle>
            <a:lvl1pPr algn="l">
              <a:defRPr sz="900">
                <a:solidFill>
                  <a:schemeClr val="tx2"/>
                </a:solidFill>
              </a:defRPr>
            </a:lvl1pPr>
          </a:lstStyle>
          <a:p>
            <a:fld id="{6F268063-6A8A-9247-8437-9A56B5733FF9}" type="datetime1">
              <a:rPr lang="fi-FI" smtClean="0"/>
              <a:t>29.4.2022</a:t>
            </a:fld>
            <a:endParaRPr lang="fi-FI"/>
          </a:p>
        </p:txBody>
      </p:sp>
      <p:sp>
        <p:nvSpPr>
          <p:cNvPr id="19" name="Alatunnisteen paikkamerkki 1">
            <a:extLst>
              <a:ext uri="{FF2B5EF4-FFF2-40B4-BE49-F238E27FC236}">
                <a16:creationId xmlns:a16="http://schemas.microsoft.com/office/drawing/2014/main" id="{52AB9CD4-C65E-8F4B-998F-A8BC1295FA81}"/>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a:solidFill>
                  <a:schemeClr val="accent3"/>
                </a:solidFill>
              </a:defRPr>
            </a:lvl1pPr>
          </a:lstStyle>
          <a:p>
            <a:endParaRPr lang="fi-FI"/>
          </a:p>
        </p:txBody>
      </p:sp>
      <p:pic>
        <p:nvPicPr>
          <p:cNvPr id="20" name="Picture 19">
            <a:extLst>
              <a:ext uri="{FF2B5EF4-FFF2-40B4-BE49-F238E27FC236}">
                <a16:creationId xmlns:a16="http://schemas.microsoft.com/office/drawing/2014/main" id="{46B2A797-36E7-7B42-81BF-151757E8B99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53109" y="989351"/>
            <a:ext cx="4638926" cy="1600426"/>
          </a:xfrm>
          <a:prstGeom prst="rect">
            <a:avLst/>
          </a:prstGeom>
        </p:spPr>
      </p:pic>
      <p:pic>
        <p:nvPicPr>
          <p:cNvPr id="21" name="Picture 20">
            <a:extLst>
              <a:ext uri="{FF2B5EF4-FFF2-40B4-BE49-F238E27FC236}">
                <a16:creationId xmlns:a16="http://schemas.microsoft.com/office/drawing/2014/main" id="{901A608C-B10F-3E4F-966F-236161C4F84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599967" y="989351"/>
            <a:ext cx="4638926" cy="1800000"/>
          </a:xfrm>
          <a:prstGeom prst="rect">
            <a:avLst/>
          </a:prstGeom>
        </p:spPr>
      </p:pic>
      <p:pic>
        <p:nvPicPr>
          <p:cNvPr id="22" name="Picture 21">
            <a:extLst>
              <a:ext uri="{FF2B5EF4-FFF2-40B4-BE49-F238E27FC236}">
                <a16:creationId xmlns:a16="http://schemas.microsoft.com/office/drawing/2014/main" id="{62DB6891-83B1-A644-8215-0ECBAC4B2BA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53107" y="4349330"/>
            <a:ext cx="4638926" cy="1600426"/>
          </a:xfrm>
          <a:prstGeom prst="rect">
            <a:avLst/>
          </a:prstGeom>
        </p:spPr>
      </p:pic>
      <p:pic>
        <p:nvPicPr>
          <p:cNvPr id="28" name="Picture 27">
            <a:extLst>
              <a:ext uri="{FF2B5EF4-FFF2-40B4-BE49-F238E27FC236}">
                <a16:creationId xmlns:a16="http://schemas.microsoft.com/office/drawing/2014/main" id="{E17907ED-415B-D646-80D1-33B81372431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6599965" y="2667798"/>
            <a:ext cx="4638926" cy="1600426"/>
          </a:xfrm>
          <a:prstGeom prst="rect">
            <a:avLst/>
          </a:prstGeom>
        </p:spPr>
      </p:pic>
      <p:sp>
        <p:nvSpPr>
          <p:cNvPr id="9" name="Text Placeholder 5">
            <a:extLst>
              <a:ext uri="{FF2B5EF4-FFF2-40B4-BE49-F238E27FC236}">
                <a16:creationId xmlns:a16="http://schemas.microsoft.com/office/drawing/2014/main" id="{22C7E81D-66A8-794E-9C7E-393B5F836B54}"/>
              </a:ext>
            </a:extLst>
          </p:cNvPr>
          <p:cNvSpPr>
            <a:spLocks noGrp="1"/>
          </p:cNvSpPr>
          <p:nvPr>
            <p:ph type="body" sz="quarter" idx="19" hasCustomPrompt="1"/>
          </p:nvPr>
        </p:nvSpPr>
        <p:spPr>
          <a:xfrm>
            <a:off x="2280411" y="1407476"/>
            <a:ext cx="2972074" cy="761092"/>
          </a:xfrm>
        </p:spPr>
        <p:txBody>
          <a:bodyPr/>
          <a:lstStyle>
            <a:lvl1pPr marL="0" indent="0">
              <a:buNone/>
              <a:defRPr sz="20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fi-FI"/>
              <a:t>MUOKKAA TEKSTIÄ</a:t>
            </a:r>
          </a:p>
        </p:txBody>
      </p:sp>
      <p:sp>
        <p:nvSpPr>
          <p:cNvPr id="10" name="Text Placeholder 5">
            <a:extLst>
              <a:ext uri="{FF2B5EF4-FFF2-40B4-BE49-F238E27FC236}">
                <a16:creationId xmlns:a16="http://schemas.microsoft.com/office/drawing/2014/main" id="{70AC4A6C-86AB-E447-A520-559890804477}"/>
              </a:ext>
            </a:extLst>
          </p:cNvPr>
          <p:cNvSpPr>
            <a:spLocks noGrp="1"/>
          </p:cNvSpPr>
          <p:nvPr>
            <p:ph type="body" sz="quarter" idx="20" hasCustomPrompt="1"/>
          </p:nvPr>
        </p:nvSpPr>
        <p:spPr>
          <a:xfrm>
            <a:off x="2280411" y="3048454"/>
            <a:ext cx="2972074" cy="761092"/>
          </a:xfrm>
        </p:spPr>
        <p:txBody>
          <a:bodyPr/>
          <a:lstStyle>
            <a:lvl1pPr marL="0" indent="0">
              <a:buNone/>
              <a:defRPr sz="2000" b="1" i="0">
                <a:solidFill>
                  <a:schemeClr val="accent3"/>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fi-FI"/>
              <a:t>MUOKKAA TEKSTIÄ</a:t>
            </a:r>
          </a:p>
        </p:txBody>
      </p:sp>
      <p:sp>
        <p:nvSpPr>
          <p:cNvPr id="11" name="Text Placeholder 5">
            <a:extLst>
              <a:ext uri="{FF2B5EF4-FFF2-40B4-BE49-F238E27FC236}">
                <a16:creationId xmlns:a16="http://schemas.microsoft.com/office/drawing/2014/main" id="{A67365B1-5749-2746-BF15-599A8F6F9FB6}"/>
              </a:ext>
            </a:extLst>
          </p:cNvPr>
          <p:cNvSpPr>
            <a:spLocks noGrp="1"/>
          </p:cNvSpPr>
          <p:nvPr>
            <p:ph type="body" sz="quarter" idx="21" hasCustomPrompt="1"/>
          </p:nvPr>
        </p:nvSpPr>
        <p:spPr>
          <a:xfrm>
            <a:off x="2280411" y="4768997"/>
            <a:ext cx="2972074" cy="761092"/>
          </a:xfrm>
        </p:spPr>
        <p:txBody>
          <a:bodyPr/>
          <a:lstStyle>
            <a:lvl1pPr marL="0" indent="0">
              <a:buNone/>
              <a:defRPr sz="20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fi-FI"/>
              <a:t>MUOKKAA TEKSTIÄ</a:t>
            </a:r>
          </a:p>
        </p:txBody>
      </p:sp>
      <p:sp>
        <p:nvSpPr>
          <p:cNvPr id="13" name="Text Placeholder 5">
            <a:extLst>
              <a:ext uri="{FF2B5EF4-FFF2-40B4-BE49-F238E27FC236}">
                <a16:creationId xmlns:a16="http://schemas.microsoft.com/office/drawing/2014/main" id="{7F43DF7E-7908-5B46-A3FA-365887EB6571}"/>
              </a:ext>
            </a:extLst>
          </p:cNvPr>
          <p:cNvSpPr>
            <a:spLocks noGrp="1"/>
          </p:cNvSpPr>
          <p:nvPr>
            <p:ph type="body" sz="quarter" idx="22" hasCustomPrompt="1"/>
          </p:nvPr>
        </p:nvSpPr>
        <p:spPr>
          <a:xfrm>
            <a:off x="7936932" y="1407476"/>
            <a:ext cx="2972074" cy="761092"/>
          </a:xfrm>
        </p:spPr>
        <p:txBody>
          <a:bodyPr/>
          <a:lstStyle>
            <a:lvl1pPr marL="0" indent="0">
              <a:buNone/>
              <a:defRPr sz="20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fi-FI"/>
              <a:t>MUOKKAA TEKSTIÄ</a:t>
            </a:r>
          </a:p>
        </p:txBody>
      </p:sp>
      <p:sp>
        <p:nvSpPr>
          <p:cNvPr id="14" name="Text Placeholder 5">
            <a:extLst>
              <a:ext uri="{FF2B5EF4-FFF2-40B4-BE49-F238E27FC236}">
                <a16:creationId xmlns:a16="http://schemas.microsoft.com/office/drawing/2014/main" id="{5B4BDE21-9180-F647-B47E-7304FEA4E378}"/>
              </a:ext>
            </a:extLst>
          </p:cNvPr>
          <p:cNvSpPr>
            <a:spLocks noGrp="1"/>
          </p:cNvSpPr>
          <p:nvPr>
            <p:ph type="body" sz="quarter" idx="23" hasCustomPrompt="1"/>
          </p:nvPr>
        </p:nvSpPr>
        <p:spPr>
          <a:xfrm>
            <a:off x="7936932" y="3048454"/>
            <a:ext cx="2972074" cy="761092"/>
          </a:xfrm>
        </p:spPr>
        <p:txBody>
          <a:bodyPr/>
          <a:lstStyle>
            <a:lvl1pPr marL="0" indent="0">
              <a:buNone/>
              <a:defRPr sz="2000" b="1" i="0">
                <a:solidFill>
                  <a:schemeClr val="accent3"/>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fi-FI"/>
              <a:t>MUOKKAA TEKSTIÄ</a:t>
            </a:r>
          </a:p>
        </p:txBody>
      </p:sp>
    </p:spTree>
    <p:extLst>
      <p:ext uri="{BB962C8B-B14F-4D97-AF65-F5344CB8AC3E}">
        <p14:creationId xmlns:p14="http://schemas.microsoft.com/office/powerpoint/2010/main" val="220081160"/>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ubrik och två diagram">
    <p:spTree>
      <p:nvGrpSpPr>
        <p:cNvPr id="1" name=""/>
        <p:cNvGrpSpPr/>
        <p:nvPr/>
      </p:nvGrpSpPr>
      <p:grpSpPr>
        <a:xfrm>
          <a:off x="0" y="0"/>
          <a:ext cx="0" cy="0"/>
          <a:chOff x="0" y="0"/>
          <a:chExt cx="0" cy="0"/>
        </a:xfrm>
      </p:grpSpPr>
      <p:sp>
        <p:nvSpPr>
          <p:cNvPr id="4" name="Platshållare för datum 3"/>
          <p:cNvSpPr>
            <a:spLocks noGrp="1"/>
          </p:cNvSpPr>
          <p:nvPr>
            <p:ph type="dt" sz="half" idx="10"/>
          </p:nvPr>
        </p:nvSpPr>
        <p:spPr/>
        <p:txBody>
          <a:bodyPr/>
          <a:lstStyle/>
          <a:p>
            <a:fld id="{FE05BF28-3962-486A-AC88-995557FC034E}" type="datetime1">
              <a:rPr lang="sv-SE" smtClean="0"/>
              <a:t>2022-04-29</a:t>
            </a:fld>
            <a:endParaRPr lang="en-GB"/>
          </a:p>
        </p:txBody>
      </p:sp>
      <p:sp>
        <p:nvSpPr>
          <p:cNvPr id="5" name="Platshållare för sidfot 4"/>
          <p:cNvSpPr>
            <a:spLocks noGrp="1"/>
          </p:cNvSpPr>
          <p:nvPr>
            <p:ph type="ftr" sz="quarter" idx="11"/>
          </p:nvPr>
        </p:nvSpPr>
        <p:spPr/>
        <p:txBody>
          <a:body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12"/>
          </p:nvPr>
        </p:nvSpPr>
        <p:spPr/>
        <p:txBody>
          <a:bodyPr/>
          <a:lstStyle/>
          <a:p>
            <a:fld id="{A3EAEDCA-98D4-4724-9772-C653855CA076}" type="slidenum">
              <a:rPr lang="en-GB" smtClean="0"/>
              <a:t>‹#›</a:t>
            </a:fld>
            <a:endParaRPr lang="en-GB"/>
          </a:p>
        </p:txBody>
      </p:sp>
      <p:sp>
        <p:nvSpPr>
          <p:cNvPr id="8" name="Platshållare för text 7"/>
          <p:cNvSpPr>
            <a:spLocks noGrp="1"/>
          </p:cNvSpPr>
          <p:nvPr>
            <p:ph type="body" sz="quarter" idx="13"/>
          </p:nvPr>
        </p:nvSpPr>
        <p:spPr>
          <a:xfrm>
            <a:off x="812800" y="1633151"/>
            <a:ext cx="11125200" cy="344757"/>
          </a:xfrm>
        </p:spPr>
        <p:txBody>
          <a:bodyPr/>
          <a:lstStyle>
            <a:lvl1pPr marL="12600" indent="0">
              <a:buNone/>
              <a:defRPr/>
            </a:lvl1pPr>
            <a:lvl2pPr marL="469800" indent="0">
              <a:buNone/>
              <a:defRPr/>
            </a:lvl2pPr>
            <a:lvl3pPr marL="927000" indent="0">
              <a:buNone/>
              <a:defRPr/>
            </a:lvl3pPr>
            <a:lvl4pPr marL="1384200" indent="0">
              <a:buNone/>
              <a:defRPr/>
            </a:lvl4pPr>
            <a:lvl5pPr marL="1841400" indent="0">
              <a:buNone/>
              <a:defRPr/>
            </a:lvl5pPr>
          </a:lstStyle>
          <a:p>
            <a:pPr lvl="0"/>
            <a:r>
              <a:rPr lang="sv-SE"/>
              <a:t>Klicka här för att ändra format på bakgrundstexten</a:t>
            </a:r>
          </a:p>
        </p:txBody>
      </p:sp>
      <p:sp>
        <p:nvSpPr>
          <p:cNvPr id="11" name="Platshållare för diagram 10"/>
          <p:cNvSpPr>
            <a:spLocks noGrp="1"/>
          </p:cNvSpPr>
          <p:nvPr>
            <p:ph type="chart" sz="quarter" idx="14"/>
          </p:nvPr>
        </p:nvSpPr>
        <p:spPr>
          <a:xfrm>
            <a:off x="803275" y="2059818"/>
            <a:ext cx="5226757" cy="4321932"/>
          </a:xfrm>
        </p:spPr>
        <p:txBody>
          <a:bodyPr/>
          <a:lstStyle/>
          <a:p>
            <a:r>
              <a:rPr lang="sv-SE"/>
              <a:t>Klicka på ikonen för att lägga till ett diagram</a:t>
            </a:r>
          </a:p>
        </p:txBody>
      </p:sp>
      <p:sp>
        <p:nvSpPr>
          <p:cNvPr id="7" name="Platshållare för diagram 6"/>
          <p:cNvSpPr>
            <a:spLocks noGrp="1"/>
          </p:cNvSpPr>
          <p:nvPr>
            <p:ph type="chart" sz="quarter" idx="15"/>
          </p:nvPr>
        </p:nvSpPr>
        <p:spPr>
          <a:xfrm>
            <a:off x="6144684" y="2060575"/>
            <a:ext cx="5783292" cy="4321175"/>
          </a:xfrm>
        </p:spPr>
        <p:txBody>
          <a:bodyPr/>
          <a:lstStyle/>
          <a:p>
            <a:r>
              <a:rPr lang="sv-SE"/>
              <a:t>Klicka på ikonen för att lägga till ett diagram</a:t>
            </a:r>
          </a:p>
        </p:txBody>
      </p:sp>
      <p:sp>
        <p:nvSpPr>
          <p:cNvPr id="3" name="Rubrik 2"/>
          <p:cNvSpPr>
            <a:spLocks noGrp="1"/>
          </p:cNvSpPr>
          <p:nvPr>
            <p:ph type="title"/>
          </p:nvPr>
        </p:nvSpPr>
        <p:spPr/>
        <p:txBody>
          <a:bodyPr/>
          <a:lstStyle/>
          <a:p>
            <a:r>
              <a:rPr lang="sv-SE"/>
              <a:t>Klicka här för att ändra format</a:t>
            </a:r>
            <a:endParaRPr lang="en-GB"/>
          </a:p>
        </p:txBody>
      </p:sp>
    </p:spTree>
    <p:extLst>
      <p:ext uri="{BB962C8B-B14F-4D97-AF65-F5344CB8AC3E}">
        <p14:creationId xmlns:p14="http://schemas.microsoft.com/office/powerpoint/2010/main" val="33396961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9_Numerot_2">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93167658-69D8-C948-A585-3B1CEF66C1F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53106" y="989448"/>
            <a:ext cx="4638927" cy="1606466"/>
          </a:xfrm>
          <a:prstGeom prst="rect">
            <a:avLst/>
          </a:prstGeom>
        </p:spPr>
      </p:pic>
      <p:pic>
        <p:nvPicPr>
          <p:cNvPr id="36" name="Picture 35">
            <a:extLst>
              <a:ext uri="{FF2B5EF4-FFF2-40B4-BE49-F238E27FC236}">
                <a16:creationId xmlns:a16="http://schemas.microsoft.com/office/drawing/2014/main" id="{7EEED0EC-FC65-4043-88B0-2DA127F5FEF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599965" y="989350"/>
            <a:ext cx="4638926" cy="1606465"/>
          </a:xfrm>
          <a:prstGeom prst="rect">
            <a:avLst/>
          </a:prstGeom>
        </p:spPr>
      </p:pic>
      <p:pic>
        <p:nvPicPr>
          <p:cNvPr id="37" name="Picture 36">
            <a:extLst>
              <a:ext uri="{FF2B5EF4-FFF2-40B4-BE49-F238E27FC236}">
                <a16:creationId xmlns:a16="http://schemas.microsoft.com/office/drawing/2014/main" id="{2FB9F934-9B38-7142-BB4C-26B0B62A5E5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953107" y="4349331"/>
            <a:ext cx="4638925" cy="1606466"/>
          </a:xfrm>
          <a:prstGeom prst="rect">
            <a:avLst/>
          </a:prstGeom>
        </p:spPr>
      </p:pic>
      <p:sp>
        <p:nvSpPr>
          <p:cNvPr id="5" name="Date Placeholder 2">
            <a:extLst>
              <a:ext uri="{FF2B5EF4-FFF2-40B4-BE49-F238E27FC236}">
                <a16:creationId xmlns:a16="http://schemas.microsoft.com/office/drawing/2014/main" id="{C39CFC87-B617-E843-ACB2-E178AB3989A1}"/>
              </a:ext>
            </a:extLst>
          </p:cNvPr>
          <p:cNvSpPr>
            <a:spLocks noGrp="1"/>
          </p:cNvSpPr>
          <p:nvPr>
            <p:ph type="dt" sz="half" idx="2"/>
          </p:nvPr>
        </p:nvSpPr>
        <p:spPr>
          <a:xfrm>
            <a:off x="1298279" y="6559865"/>
            <a:ext cx="2740321" cy="141878"/>
          </a:xfrm>
          <a:prstGeom prst="rect">
            <a:avLst/>
          </a:prstGeom>
        </p:spPr>
        <p:txBody>
          <a:bodyPr vert="horz" lIns="91440" tIns="45720" rIns="91440" bIns="45720" rtlCol="0" anchor="ctr"/>
          <a:lstStyle>
            <a:lvl1pPr algn="l">
              <a:defRPr sz="900">
                <a:solidFill>
                  <a:schemeClr val="tx2"/>
                </a:solidFill>
              </a:defRPr>
            </a:lvl1pPr>
          </a:lstStyle>
          <a:p>
            <a:fld id="{5E25D59A-BA90-8C4F-BC23-B59670FB5C19}" type="datetime1">
              <a:rPr lang="fi-FI" smtClean="0"/>
              <a:t>29.4.2022</a:t>
            </a:fld>
            <a:endParaRPr lang="fi-FI"/>
          </a:p>
        </p:txBody>
      </p:sp>
      <p:sp>
        <p:nvSpPr>
          <p:cNvPr id="33" name="Alatunnisteen paikkamerkki 1">
            <a:extLst>
              <a:ext uri="{FF2B5EF4-FFF2-40B4-BE49-F238E27FC236}">
                <a16:creationId xmlns:a16="http://schemas.microsoft.com/office/drawing/2014/main" id="{964BACD7-BD94-0B44-B02F-AB47D81C1F24}"/>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a:solidFill>
                  <a:schemeClr val="accent3"/>
                </a:solidFill>
              </a:defRPr>
            </a:lvl1pPr>
          </a:lstStyle>
          <a:p>
            <a:endParaRPr lang="fi-FI"/>
          </a:p>
        </p:txBody>
      </p:sp>
      <p:pic>
        <p:nvPicPr>
          <p:cNvPr id="38" name="Picture 37">
            <a:extLst>
              <a:ext uri="{FF2B5EF4-FFF2-40B4-BE49-F238E27FC236}">
                <a16:creationId xmlns:a16="http://schemas.microsoft.com/office/drawing/2014/main" id="{9FDACC60-3656-184C-A0C1-A1BBE0B1AC00}"/>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53106" y="2670884"/>
            <a:ext cx="4638926" cy="1597340"/>
          </a:xfrm>
          <a:prstGeom prst="rect">
            <a:avLst/>
          </a:prstGeom>
        </p:spPr>
      </p:pic>
      <p:pic>
        <p:nvPicPr>
          <p:cNvPr id="39" name="Picture 38">
            <a:extLst>
              <a:ext uri="{FF2B5EF4-FFF2-40B4-BE49-F238E27FC236}">
                <a16:creationId xmlns:a16="http://schemas.microsoft.com/office/drawing/2014/main" id="{55C8BD71-740D-8648-84C4-27E825BD554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6599965" y="2670885"/>
            <a:ext cx="4638925" cy="1597339"/>
          </a:xfrm>
          <a:prstGeom prst="rect">
            <a:avLst/>
          </a:prstGeom>
        </p:spPr>
      </p:pic>
      <p:sp>
        <p:nvSpPr>
          <p:cNvPr id="9" name="Text Placeholder 5">
            <a:extLst>
              <a:ext uri="{FF2B5EF4-FFF2-40B4-BE49-F238E27FC236}">
                <a16:creationId xmlns:a16="http://schemas.microsoft.com/office/drawing/2014/main" id="{8962BD57-3BB9-5045-8A28-CFABB8E5C69F}"/>
              </a:ext>
            </a:extLst>
          </p:cNvPr>
          <p:cNvSpPr>
            <a:spLocks noGrp="1"/>
          </p:cNvSpPr>
          <p:nvPr>
            <p:ph type="body" sz="quarter" idx="19" hasCustomPrompt="1"/>
          </p:nvPr>
        </p:nvSpPr>
        <p:spPr>
          <a:xfrm>
            <a:off x="2280411" y="1407476"/>
            <a:ext cx="2972074" cy="761092"/>
          </a:xfrm>
        </p:spPr>
        <p:txBody>
          <a:bodyPr/>
          <a:lstStyle>
            <a:lvl1pPr marL="0" indent="0">
              <a:buNone/>
              <a:defRPr sz="20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fi-FI"/>
              <a:t>MUOKKAA TEKSTIÄ</a:t>
            </a:r>
          </a:p>
        </p:txBody>
      </p:sp>
      <p:sp>
        <p:nvSpPr>
          <p:cNvPr id="10" name="Text Placeholder 5">
            <a:extLst>
              <a:ext uri="{FF2B5EF4-FFF2-40B4-BE49-F238E27FC236}">
                <a16:creationId xmlns:a16="http://schemas.microsoft.com/office/drawing/2014/main" id="{D6DDD0E3-0CB4-3744-9990-EEC840A1998E}"/>
              </a:ext>
            </a:extLst>
          </p:cNvPr>
          <p:cNvSpPr>
            <a:spLocks noGrp="1"/>
          </p:cNvSpPr>
          <p:nvPr>
            <p:ph type="body" sz="quarter" idx="20" hasCustomPrompt="1"/>
          </p:nvPr>
        </p:nvSpPr>
        <p:spPr>
          <a:xfrm>
            <a:off x="2280411" y="3048454"/>
            <a:ext cx="2972074" cy="761092"/>
          </a:xfrm>
        </p:spPr>
        <p:txBody>
          <a:bodyPr/>
          <a:lstStyle>
            <a:lvl1pPr marL="0" indent="0">
              <a:buNone/>
              <a:defRPr sz="2000" b="1" i="0">
                <a:solidFill>
                  <a:schemeClr val="accent3"/>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fi-FI"/>
              <a:t>MUOKKAA TEKSTIÄ</a:t>
            </a:r>
          </a:p>
        </p:txBody>
      </p:sp>
      <p:sp>
        <p:nvSpPr>
          <p:cNvPr id="11" name="Text Placeholder 5">
            <a:extLst>
              <a:ext uri="{FF2B5EF4-FFF2-40B4-BE49-F238E27FC236}">
                <a16:creationId xmlns:a16="http://schemas.microsoft.com/office/drawing/2014/main" id="{980F7808-F33C-DB4A-8796-7609F3651880}"/>
              </a:ext>
            </a:extLst>
          </p:cNvPr>
          <p:cNvSpPr>
            <a:spLocks noGrp="1"/>
          </p:cNvSpPr>
          <p:nvPr>
            <p:ph type="body" sz="quarter" idx="21" hasCustomPrompt="1"/>
          </p:nvPr>
        </p:nvSpPr>
        <p:spPr>
          <a:xfrm>
            <a:off x="2881423" y="4768997"/>
            <a:ext cx="2371062" cy="761092"/>
          </a:xfrm>
        </p:spPr>
        <p:txBody>
          <a:bodyPr/>
          <a:lstStyle>
            <a:lvl1pPr marL="0" indent="0">
              <a:buNone/>
              <a:defRPr sz="20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fi-FI"/>
              <a:t>MUOKKAA TEKSTIÄ</a:t>
            </a:r>
          </a:p>
        </p:txBody>
      </p:sp>
      <p:sp>
        <p:nvSpPr>
          <p:cNvPr id="12" name="Text Placeholder 5">
            <a:extLst>
              <a:ext uri="{FF2B5EF4-FFF2-40B4-BE49-F238E27FC236}">
                <a16:creationId xmlns:a16="http://schemas.microsoft.com/office/drawing/2014/main" id="{9653C1B9-6D78-9B4C-921E-C6192504A8E8}"/>
              </a:ext>
            </a:extLst>
          </p:cNvPr>
          <p:cNvSpPr>
            <a:spLocks noGrp="1"/>
          </p:cNvSpPr>
          <p:nvPr>
            <p:ph type="body" sz="quarter" idx="22" hasCustomPrompt="1"/>
          </p:nvPr>
        </p:nvSpPr>
        <p:spPr>
          <a:xfrm>
            <a:off x="7936932" y="1407476"/>
            <a:ext cx="2972074" cy="761092"/>
          </a:xfrm>
        </p:spPr>
        <p:txBody>
          <a:bodyPr/>
          <a:lstStyle>
            <a:lvl1pPr marL="0" indent="0">
              <a:buNone/>
              <a:defRPr sz="20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fi-FI"/>
              <a:t>MUOKKAA TEKSTIÄ</a:t>
            </a:r>
          </a:p>
        </p:txBody>
      </p:sp>
      <p:sp>
        <p:nvSpPr>
          <p:cNvPr id="13" name="Text Placeholder 5">
            <a:extLst>
              <a:ext uri="{FF2B5EF4-FFF2-40B4-BE49-F238E27FC236}">
                <a16:creationId xmlns:a16="http://schemas.microsoft.com/office/drawing/2014/main" id="{E9E8644A-1C0B-034F-999B-A24B97E3EA65}"/>
              </a:ext>
            </a:extLst>
          </p:cNvPr>
          <p:cNvSpPr>
            <a:spLocks noGrp="1"/>
          </p:cNvSpPr>
          <p:nvPr>
            <p:ph type="body" sz="quarter" idx="23" hasCustomPrompt="1"/>
          </p:nvPr>
        </p:nvSpPr>
        <p:spPr>
          <a:xfrm>
            <a:off x="7936932" y="3048454"/>
            <a:ext cx="2972074" cy="761092"/>
          </a:xfrm>
        </p:spPr>
        <p:txBody>
          <a:bodyPr/>
          <a:lstStyle>
            <a:lvl1pPr marL="0" indent="0">
              <a:buNone/>
              <a:defRPr sz="2000" b="1" i="0">
                <a:solidFill>
                  <a:schemeClr val="accent3"/>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fi-FI"/>
              <a:t>MUOKKAA TEKSTIÄ</a:t>
            </a:r>
          </a:p>
        </p:txBody>
      </p:sp>
    </p:spTree>
    <p:extLst>
      <p:ext uri="{BB962C8B-B14F-4D97-AF65-F5344CB8AC3E}">
        <p14:creationId xmlns:p14="http://schemas.microsoft.com/office/powerpoint/2010/main" val="1251592899"/>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A1E123-6239-D24E-BEBC-B9164EFA037D}"/>
              </a:ext>
            </a:extLst>
          </p:cNvPr>
          <p:cNvSpPr/>
          <p:nvPr userDrawn="1"/>
        </p:nvSpPr>
        <p:spPr>
          <a:xfrm>
            <a:off x="9569003" y="5898525"/>
            <a:ext cx="2253803" cy="6181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err="1">
              <a:solidFill>
                <a:schemeClr val="bg1"/>
              </a:solidFill>
              <a:latin typeface="Open Sans" panose="020B0606030504020204" pitchFamily="34" charset="0"/>
              <a:ea typeface="Muli" charset="0"/>
              <a:cs typeface="Muli" charset="0"/>
            </a:endParaRPr>
          </a:p>
        </p:txBody>
      </p:sp>
      <p:sp>
        <p:nvSpPr>
          <p:cNvPr id="30" name="Rectangle 29">
            <a:extLst>
              <a:ext uri="{FF2B5EF4-FFF2-40B4-BE49-F238E27FC236}">
                <a16:creationId xmlns:a16="http://schemas.microsoft.com/office/drawing/2014/main" id="{C5F0DDF8-91FA-604E-81D9-590AE473933B}"/>
              </a:ext>
            </a:extLst>
          </p:cNvPr>
          <p:cNvSpPr/>
          <p:nvPr userDrawn="1"/>
        </p:nvSpPr>
        <p:spPr>
          <a:xfrm>
            <a:off x="0" y="3958608"/>
            <a:ext cx="12192000" cy="27784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200" b="0" i="0">
                <a:solidFill>
                  <a:schemeClr val="bg1"/>
                </a:solidFill>
                <a:latin typeface="Open Sans" panose="020B0606030504020204" pitchFamily="34" charset="0"/>
                <a:ea typeface="Muli" charset="0"/>
                <a:cs typeface="Muli" charset="0"/>
              </a:rPr>
              <a:t>v</a:t>
            </a:r>
          </a:p>
        </p:txBody>
      </p:sp>
      <p:sp>
        <p:nvSpPr>
          <p:cNvPr id="13" name="Picture Placeholder 1">
            <a:extLst>
              <a:ext uri="{FF2B5EF4-FFF2-40B4-BE49-F238E27FC236}">
                <a16:creationId xmlns:a16="http://schemas.microsoft.com/office/drawing/2014/main" id="{28C90FD9-71DB-AD4A-92C3-CE4103ACC70D}"/>
              </a:ext>
            </a:extLst>
          </p:cNvPr>
          <p:cNvSpPr>
            <a:spLocks noGrp="1"/>
          </p:cNvSpPr>
          <p:nvPr>
            <p:ph type="pic" sz="quarter" idx="10" hasCustomPrompt="1"/>
          </p:nvPr>
        </p:nvSpPr>
        <p:spPr>
          <a:xfrm>
            <a:off x="0" y="0"/>
            <a:ext cx="12192000" cy="3952471"/>
          </a:xfrm>
        </p:spPr>
        <p:txBody>
          <a:bodyPr/>
          <a:lstStyle/>
          <a:p>
            <a:r>
              <a:rPr lang="fi-FI"/>
              <a:t>Lisää kuva</a:t>
            </a:r>
          </a:p>
        </p:txBody>
      </p:sp>
      <p:pic>
        <p:nvPicPr>
          <p:cNvPr id="16" name="Kuva 15" descr="Kuva, joka sisältää kohteen teksti, kello&#10;&#10;Kuvaus luotu automaattisesti">
            <a:extLst>
              <a:ext uri="{FF2B5EF4-FFF2-40B4-BE49-F238E27FC236}">
                <a16:creationId xmlns:a16="http://schemas.microsoft.com/office/drawing/2014/main" id="{3000C845-31EE-4580-845F-EC4AC6758EE6}"/>
              </a:ext>
            </a:extLst>
          </p:cNvPr>
          <p:cNvPicPr>
            <a:picLocks noChangeAspect="1"/>
          </p:cNvPicPr>
          <p:nvPr userDrawn="1"/>
        </p:nvPicPr>
        <p:blipFill>
          <a:blip r:embed="rId2"/>
          <a:stretch>
            <a:fillRect/>
          </a:stretch>
        </p:blipFill>
        <p:spPr>
          <a:xfrm>
            <a:off x="3592423" y="4690544"/>
            <a:ext cx="5007605" cy="1285168"/>
          </a:xfrm>
          <a:prstGeom prst="rect">
            <a:avLst/>
          </a:prstGeom>
        </p:spPr>
      </p:pic>
    </p:spTree>
    <p:extLst>
      <p:ext uri="{BB962C8B-B14F-4D97-AF65-F5344CB8AC3E}">
        <p14:creationId xmlns:p14="http://schemas.microsoft.com/office/powerpoint/2010/main" val="339078201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Logo 2">
    <p:spTree>
      <p:nvGrpSpPr>
        <p:cNvPr id="1" name=""/>
        <p:cNvGrpSpPr/>
        <p:nvPr/>
      </p:nvGrpSpPr>
      <p:grpSpPr>
        <a:xfrm>
          <a:off x="0" y="0"/>
          <a:ext cx="0" cy="0"/>
          <a:chOff x="0" y="0"/>
          <a:chExt cx="0" cy="0"/>
        </a:xfrm>
      </p:grpSpPr>
      <p:sp>
        <p:nvSpPr>
          <p:cNvPr id="32" name="Picture Placeholder 1">
            <a:extLst>
              <a:ext uri="{FF2B5EF4-FFF2-40B4-BE49-F238E27FC236}">
                <a16:creationId xmlns:a16="http://schemas.microsoft.com/office/drawing/2014/main" id="{F6013CC6-481F-564D-A236-0926657B01A1}"/>
              </a:ext>
            </a:extLst>
          </p:cNvPr>
          <p:cNvSpPr>
            <a:spLocks noGrp="1"/>
          </p:cNvSpPr>
          <p:nvPr>
            <p:ph type="pic" sz="quarter" idx="10" hasCustomPrompt="1"/>
          </p:nvPr>
        </p:nvSpPr>
        <p:spPr>
          <a:xfrm>
            <a:off x="0" y="0"/>
            <a:ext cx="12192000" cy="3952471"/>
          </a:xfrm>
        </p:spPr>
        <p:txBody>
          <a:bodyPr/>
          <a:lstStyle/>
          <a:p>
            <a:r>
              <a:rPr lang="fi-FI"/>
              <a:t>Lisää kuva</a:t>
            </a:r>
          </a:p>
        </p:txBody>
      </p:sp>
      <p:sp>
        <p:nvSpPr>
          <p:cNvPr id="2" name="Rectangle 1">
            <a:extLst>
              <a:ext uri="{FF2B5EF4-FFF2-40B4-BE49-F238E27FC236}">
                <a16:creationId xmlns:a16="http://schemas.microsoft.com/office/drawing/2014/main" id="{86A1E123-6239-D24E-BEBC-B9164EFA037D}"/>
              </a:ext>
            </a:extLst>
          </p:cNvPr>
          <p:cNvSpPr/>
          <p:nvPr userDrawn="1"/>
        </p:nvSpPr>
        <p:spPr>
          <a:xfrm>
            <a:off x="9569003" y="5898525"/>
            <a:ext cx="2253803" cy="6181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err="1">
              <a:solidFill>
                <a:schemeClr val="bg1"/>
              </a:solidFill>
              <a:latin typeface="Open Sans" panose="020B0606030504020204" pitchFamily="34" charset="0"/>
              <a:ea typeface="Muli" charset="0"/>
              <a:cs typeface="Muli" charset="0"/>
            </a:endParaRPr>
          </a:p>
        </p:txBody>
      </p:sp>
      <p:sp>
        <p:nvSpPr>
          <p:cNvPr id="30" name="Rectangle 29">
            <a:extLst>
              <a:ext uri="{FF2B5EF4-FFF2-40B4-BE49-F238E27FC236}">
                <a16:creationId xmlns:a16="http://schemas.microsoft.com/office/drawing/2014/main" id="{C5F0DDF8-91FA-604E-81D9-590AE473933B}"/>
              </a:ext>
            </a:extLst>
          </p:cNvPr>
          <p:cNvSpPr/>
          <p:nvPr userDrawn="1"/>
        </p:nvSpPr>
        <p:spPr>
          <a:xfrm>
            <a:off x="0" y="3952471"/>
            <a:ext cx="12192000" cy="290552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a:solidFill>
                <a:schemeClr val="bg1"/>
              </a:solidFill>
              <a:latin typeface="Open Sans" panose="020B0606030504020204" pitchFamily="34" charset="0"/>
              <a:ea typeface="Muli" charset="0"/>
              <a:cs typeface="Muli" charset="0"/>
            </a:endParaRPr>
          </a:p>
        </p:txBody>
      </p:sp>
      <p:pic>
        <p:nvPicPr>
          <p:cNvPr id="22" name="Kuva 21" descr="Kuva, joka sisältää kohteen teksti, clipart-kuva&#10;&#10;Kuvaus luotu automaattisesti">
            <a:extLst>
              <a:ext uri="{FF2B5EF4-FFF2-40B4-BE49-F238E27FC236}">
                <a16:creationId xmlns:a16="http://schemas.microsoft.com/office/drawing/2014/main" id="{1840448D-3374-43B1-8A3C-141173F8180F}"/>
              </a:ext>
            </a:extLst>
          </p:cNvPr>
          <p:cNvPicPr>
            <a:picLocks noChangeAspect="1"/>
          </p:cNvPicPr>
          <p:nvPr userDrawn="1"/>
        </p:nvPicPr>
        <p:blipFill>
          <a:blip r:embed="rId2"/>
          <a:stretch>
            <a:fillRect/>
          </a:stretch>
        </p:blipFill>
        <p:spPr>
          <a:xfrm>
            <a:off x="3592199" y="4684806"/>
            <a:ext cx="5007600" cy="1285168"/>
          </a:xfrm>
          <a:prstGeom prst="rect">
            <a:avLst/>
          </a:prstGeom>
        </p:spPr>
      </p:pic>
    </p:spTree>
    <p:extLst>
      <p:ext uri="{BB962C8B-B14F-4D97-AF65-F5344CB8AC3E}">
        <p14:creationId xmlns:p14="http://schemas.microsoft.com/office/powerpoint/2010/main" val="41613307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Väliotsikk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C63E67-FFEB-4746-99F0-677F77A68816}"/>
              </a:ext>
            </a:extLst>
          </p:cNvPr>
          <p:cNvPicPr>
            <a:picLocks noChangeAspect="1"/>
          </p:cNvPicPr>
          <p:nvPr userDrawn="1"/>
        </p:nvPicPr>
        <p:blipFill>
          <a:blip r:embed="rId2"/>
          <a:stretch>
            <a:fillRect/>
          </a:stretch>
        </p:blipFill>
        <p:spPr>
          <a:xfrm>
            <a:off x="0" y="1063625"/>
            <a:ext cx="12192000" cy="4730750"/>
          </a:xfrm>
          <a:prstGeom prst="rect">
            <a:avLst/>
          </a:prstGeom>
        </p:spPr>
      </p:pic>
      <p:sp>
        <p:nvSpPr>
          <p:cNvPr id="15" name="Title 9">
            <a:extLst>
              <a:ext uri="{FF2B5EF4-FFF2-40B4-BE49-F238E27FC236}">
                <a16:creationId xmlns:a16="http://schemas.microsoft.com/office/drawing/2014/main" id="{099CA2DE-4C3C-0643-929A-92D2C99B10A0}"/>
              </a:ext>
            </a:extLst>
          </p:cNvPr>
          <p:cNvSpPr>
            <a:spLocks noGrp="1"/>
          </p:cNvSpPr>
          <p:nvPr>
            <p:ph type="title" hasCustomPrompt="1"/>
          </p:nvPr>
        </p:nvSpPr>
        <p:spPr>
          <a:xfrm>
            <a:off x="3411648" y="2868955"/>
            <a:ext cx="8028678" cy="698835"/>
          </a:xfrm>
        </p:spPr>
        <p:txBody>
          <a:bodyPr/>
          <a:lstStyle>
            <a:lvl1pPr>
              <a:defRPr sz="44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MUOKKAA TEKSTIÄ</a:t>
            </a:r>
            <a:endParaRPr lang="fi-FI"/>
          </a:p>
        </p:txBody>
      </p:sp>
      <p:sp>
        <p:nvSpPr>
          <p:cNvPr id="6" name="Rectangle 5">
            <a:extLst>
              <a:ext uri="{FF2B5EF4-FFF2-40B4-BE49-F238E27FC236}">
                <a16:creationId xmlns:a16="http://schemas.microsoft.com/office/drawing/2014/main" id="{4E3EE6B5-E32C-814B-BF1B-5DED604C1FD3}"/>
              </a:ext>
            </a:extLst>
          </p:cNvPr>
          <p:cNvSpPr/>
          <p:nvPr userDrawn="1"/>
        </p:nvSpPr>
        <p:spPr>
          <a:xfrm>
            <a:off x="0" y="5794375"/>
            <a:ext cx="12192000" cy="106362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200" b="0" i="0">
                <a:solidFill>
                  <a:schemeClr val="bg1"/>
                </a:solidFill>
                <a:latin typeface="Open Sans" panose="020B0606030504020204" pitchFamily="34" charset="0"/>
                <a:ea typeface="Muli" charset="0"/>
                <a:cs typeface="Muli" charset="0"/>
              </a:rPr>
              <a:t>v</a:t>
            </a:r>
          </a:p>
        </p:txBody>
      </p:sp>
      <p:pic>
        <p:nvPicPr>
          <p:cNvPr id="9" name="Kuva 8" descr="Kuva, joka sisältää kohteen teksti, clipart-kuva&#10;&#10;Kuvaus luotu automaattisesti">
            <a:extLst>
              <a:ext uri="{FF2B5EF4-FFF2-40B4-BE49-F238E27FC236}">
                <a16:creationId xmlns:a16="http://schemas.microsoft.com/office/drawing/2014/main" id="{972276DC-4858-45DB-B656-6FDC67F01AFE}"/>
              </a:ext>
            </a:extLst>
          </p:cNvPr>
          <p:cNvPicPr>
            <a:picLocks noChangeAspect="1"/>
          </p:cNvPicPr>
          <p:nvPr userDrawn="1"/>
        </p:nvPicPr>
        <p:blipFill>
          <a:blip r:embed="rId3"/>
          <a:stretch>
            <a:fillRect/>
          </a:stretch>
        </p:blipFill>
        <p:spPr>
          <a:xfrm>
            <a:off x="10089708" y="4555920"/>
            <a:ext cx="1781460" cy="457200"/>
          </a:xfrm>
          <a:prstGeom prst="rect">
            <a:avLst/>
          </a:prstGeom>
        </p:spPr>
      </p:pic>
    </p:spTree>
    <p:extLst>
      <p:ext uri="{BB962C8B-B14F-4D97-AF65-F5344CB8AC3E}">
        <p14:creationId xmlns:p14="http://schemas.microsoft.com/office/powerpoint/2010/main" val="2637039545"/>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äliotsikk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FAFB4B5-4272-F948-B5CE-242AE25013EF}"/>
              </a:ext>
            </a:extLst>
          </p:cNvPr>
          <p:cNvPicPr>
            <a:picLocks noChangeAspect="1"/>
          </p:cNvPicPr>
          <p:nvPr userDrawn="1"/>
        </p:nvPicPr>
        <p:blipFill>
          <a:blip r:embed="rId2"/>
          <a:stretch>
            <a:fillRect/>
          </a:stretch>
        </p:blipFill>
        <p:spPr>
          <a:xfrm>
            <a:off x="0" y="1063625"/>
            <a:ext cx="12192000" cy="4730750"/>
          </a:xfrm>
          <a:prstGeom prst="rect">
            <a:avLst/>
          </a:prstGeom>
        </p:spPr>
      </p:pic>
      <p:sp>
        <p:nvSpPr>
          <p:cNvPr id="9" name="Rectangle 8">
            <a:extLst>
              <a:ext uri="{FF2B5EF4-FFF2-40B4-BE49-F238E27FC236}">
                <a16:creationId xmlns:a16="http://schemas.microsoft.com/office/drawing/2014/main" id="{7DA59DFB-70F8-614A-A54B-D7108C986DA9}"/>
              </a:ext>
            </a:extLst>
          </p:cNvPr>
          <p:cNvSpPr/>
          <p:nvPr userDrawn="1"/>
        </p:nvSpPr>
        <p:spPr>
          <a:xfrm>
            <a:off x="0" y="5794375"/>
            <a:ext cx="12192000" cy="106362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200" b="0" i="0">
                <a:solidFill>
                  <a:schemeClr val="bg1"/>
                </a:solidFill>
                <a:latin typeface="Open Sans" panose="020B0606030504020204" pitchFamily="34" charset="0"/>
                <a:ea typeface="Muli" charset="0"/>
                <a:cs typeface="Muli" charset="0"/>
              </a:rPr>
              <a:t>v</a:t>
            </a:r>
          </a:p>
        </p:txBody>
      </p:sp>
      <p:sp>
        <p:nvSpPr>
          <p:cNvPr id="17" name="Title 9">
            <a:extLst>
              <a:ext uri="{FF2B5EF4-FFF2-40B4-BE49-F238E27FC236}">
                <a16:creationId xmlns:a16="http://schemas.microsoft.com/office/drawing/2014/main" id="{EEB46814-F61B-4D49-80F7-415DA913851A}"/>
              </a:ext>
            </a:extLst>
          </p:cNvPr>
          <p:cNvSpPr>
            <a:spLocks noGrp="1"/>
          </p:cNvSpPr>
          <p:nvPr>
            <p:ph type="title" hasCustomPrompt="1"/>
          </p:nvPr>
        </p:nvSpPr>
        <p:spPr>
          <a:xfrm>
            <a:off x="3411648" y="2868955"/>
            <a:ext cx="8028678" cy="698835"/>
          </a:xfrm>
        </p:spPr>
        <p:txBody>
          <a:bodyPr/>
          <a:lstStyle>
            <a:lvl1pPr>
              <a:defRPr sz="44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MUOKKAA TEKSTIÄ</a:t>
            </a:r>
            <a:endParaRPr lang="fi-FI"/>
          </a:p>
        </p:txBody>
      </p:sp>
      <p:pic>
        <p:nvPicPr>
          <p:cNvPr id="7" name="Kuva 6" descr="Kuva, joka sisältää kohteen teksti, clipart-kuva&#10;&#10;Kuvaus luotu automaattisesti">
            <a:extLst>
              <a:ext uri="{FF2B5EF4-FFF2-40B4-BE49-F238E27FC236}">
                <a16:creationId xmlns:a16="http://schemas.microsoft.com/office/drawing/2014/main" id="{1FD8B09E-C0A9-4453-9CF4-1CC6CDDEBCD7}"/>
              </a:ext>
            </a:extLst>
          </p:cNvPr>
          <p:cNvPicPr>
            <a:picLocks noChangeAspect="1"/>
          </p:cNvPicPr>
          <p:nvPr userDrawn="1"/>
        </p:nvPicPr>
        <p:blipFill>
          <a:blip r:embed="rId3"/>
          <a:stretch>
            <a:fillRect/>
          </a:stretch>
        </p:blipFill>
        <p:spPr>
          <a:xfrm>
            <a:off x="10089708" y="4555920"/>
            <a:ext cx="1781460" cy="457200"/>
          </a:xfrm>
          <a:prstGeom prst="rect">
            <a:avLst/>
          </a:prstGeom>
        </p:spPr>
      </p:pic>
    </p:spTree>
    <p:extLst>
      <p:ext uri="{BB962C8B-B14F-4D97-AF65-F5344CB8AC3E}">
        <p14:creationId xmlns:p14="http://schemas.microsoft.com/office/powerpoint/2010/main" val="988234312"/>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Väliotsikk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D57112-264E-D344-9397-5CAFF4AA6799}"/>
              </a:ext>
            </a:extLst>
          </p:cNvPr>
          <p:cNvPicPr>
            <a:picLocks noChangeAspect="1"/>
          </p:cNvPicPr>
          <p:nvPr userDrawn="1"/>
        </p:nvPicPr>
        <p:blipFill>
          <a:blip r:embed="rId2"/>
          <a:stretch>
            <a:fillRect/>
          </a:stretch>
        </p:blipFill>
        <p:spPr>
          <a:xfrm>
            <a:off x="0" y="1066410"/>
            <a:ext cx="12192000" cy="4762500"/>
          </a:xfrm>
          <a:prstGeom prst="rect">
            <a:avLst/>
          </a:prstGeom>
        </p:spPr>
      </p:pic>
      <p:sp>
        <p:nvSpPr>
          <p:cNvPr id="7" name="Title 9">
            <a:extLst>
              <a:ext uri="{FF2B5EF4-FFF2-40B4-BE49-F238E27FC236}">
                <a16:creationId xmlns:a16="http://schemas.microsoft.com/office/drawing/2014/main" id="{1BACB6F2-4116-104F-BE26-79232EE29419}"/>
              </a:ext>
            </a:extLst>
          </p:cNvPr>
          <p:cNvSpPr>
            <a:spLocks noGrp="1"/>
          </p:cNvSpPr>
          <p:nvPr>
            <p:ph type="title" hasCustomPrompt="1"/>
          </p:nvPr>
        </p:nvSpPr>
        <p:spPr>
          <a:xfrm>
            <a:off x="3411648" y="2868955"/>
            <a:ext cx="8028678" cy="698835"/>
          </a:xfrm>
        </p:spPr>
        <p:txBody>
          <a:bodyPr/>
          <a:lstStyle>
            <a:lvl1pPr>
              <a:defRPr sz="44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MUOKKAA TEKSTIÄ</a:t>
            </a:r>
            <a:endParaRPr lang="fi-FI"/>
          </a:p>
        </p:txBody>
      </p:sp>
      <p:sp>
        <p:nvSpPr>
          <p:cNvPr id="6" name="Rectangle 5">
            <a:extLst>
              <a:ext uri="{FF2B5EF4-FFF2-40B4-BE49-F238E27FC236}">
                <a16:creationId xmlns:a16="http://schemas.microsoft.com/office/drawing/2014/main" id="{84AE83CD-EE64-A942-AD85-4CD140062592}"/>
              </a:ext>
            </a:extLst>
          </p:cNvPr>
          <p:cNvSpPr/>
          <p:nvPr userDrawn="1"/>
        </p:nvSpPr>
        <p:spPr>
          <a:xfrm>
            <a:off x="0" y="5828910"/>
            <a:ext cx="12192000" cy="102909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200" b="0" i="0">
                <a:solidFill>
                  <a:schemeClr val="bg1"/>
                </a:solidFill>
                <a:latin typeface="Open Sans" panose="020B0606030504020204" pitchFamily="34" charset="0"/>
                <a:ea typeface="Muli" charset="0"/>
                <a:cs typeface="Muli" charset="0"/>
              </a:rPr>
              <a:t>v</a:t>
            </a:r>
          </a:p>
        </p:txBody>
      </p:sp>
      <p:pic>
        <p:nvPicPr>
          <p:cNvPr id="8" name="Kuva 7" descr="Kuva, joka sisältää kohteen teksti, clipart-kuva&#10;&#10;Kuvaus luotu automaattisesti">
            <a:extLst>
              <a:ext uri="{FF2B5EF4-FFF2-40B4-BE49-F238E27FC236}">
                <a16:creationId xmlns:a16="http://schemas.microsoft.com/office/drawing/2014/main" id="{A23EABA5-3849-4CE4-A01B-E2289C363987}"/>
              </a:ext>
            </a:extLst>
          </p:cNvPr>
          <p:cNvPicPr>
            <a:picLocks noChangeAspect="1"/>
          </p:cNvPicPr>
          <p:nvPr userDrawn="1"/>
        </p:nvPicPr>
        <p:blipFill>
          <a:blip r:embed="rId3"/>
          <a:stretch>
            <a:fillRect/>
          </a:stretch>
        </p:blipFill>
        <p:spPr>
          <a:xfrm>
            <a:off x="10089708" y="4555920"/>
            <a:ext cx="1781460" cy="457200"/>
          </a:xfrm>
          <a:prstGeom prst="rect">
            <a:avLst/>
          </a:prstGeom>
        </p:spPr>
      </p:pic>
    </p:spTree>
    <p:extLst>
      <p:ext uri="{BB962C8B-B14F-4D97-AF65-F5344CB8AC3E}">
        <p14:creationId xmlns:p14="http://schemas.microsoft.com/office/powerpoint/2010/main" val="2534415380"/>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Väliotsikk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FAC041F-7A5D-274C-8FB5-88554F4B39E1}"/>
              </a:ext>
            </a:extLst>
          </p:cNvPr>
          <p:cNvPicPr>
            <a:picLocks noChangeAspect="1"/>
          </p:cNvPicPr>
          <p:nvPr userDrawn="1"/>
        </p:nvPicPr>
        <p:blipFill>
          <a:blip r:embed="rId2"/>
          <a:stretch>
            <a:fillRect/>
          </a:stretch>
        </p:blipFill>
        <p:spPr>
          <a:xfrm>
            <a:off x="0" y="1063625"/>
            <a:ext cx="12192000" cy="4730750"/>
          </a:xfrm>
          <a:prstGeom prst="rect">
            <a:avLst/>
          </a:prstGeom>
        </p:spPr>
      </p:pic>
      <p:sp>
        <p:nvSpPr>
          <p:cNvPr id="7" name="Title 9">
            <a:extLst>
              <a:ext uri="{FF2B5EF4-FFF2-40B4-BE49-F238E27FC236}">
                <a16:creationId xmlns:a16="http://schemas.microsoft.com/office/drawing/2014/main" id="{CA3A87EE-98ED-EB41-9FA3-008CCD4A4B36}"/>
              </a:ext>
            </a:extLst>
          </p:cNvPr>
          <p:cNvSpPr>
            <a:spLocks noGrp="1"/>
          </p:cNvSpPr>
          <p:nvPr>
            <p:ph type="title" hasCustomPrompt="1"/>
          </p:nvPr>
        </p:nvSpPr>
        <p:spPr>
          <a:xfrm>
            <a:off x="3411648" y="2868955"/>
            <a:ext cx="8028678" cy="698835"/>
          </a:xfrm>
        </p:spPr>
        <p:txBody>
          <a:bodyPr/>
          <a:lstStyle>
            <a:lvl1pPr>
              <a:defRPr sz="44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MUOKKAA TEKSTIÄ</a:t>
            </a:r>
            <a:endParaRPr lang="fi-FI"/>
          </a:p>
        </p:txBody>
      </p:sp>
      <p:sp>
        <p:nvSpPr>
          <p:cNvPr id="6" name="Rectangle 5">
            <a:extLst>
              <a:ext uri="{FF2B5EF4-FFF2-40B4-BE49-F238E27FC236}">
                <a16:creationId xmlns:a16="http://schemas.microsoft.com/office/drawing/2014/main" id="{048EE649-F3CA-154D-8FBE-78177D2B75A1}"/>
              </a:ext>
            </a:extLst>
          </p:cNvPr>
          <p:cNvSpPr/>
          <p:nvPr userDrawn="1"/>
        </p:nvSpPr>
        <p:spPr>
          <a:xfrm>
            <a:off x="0" y="5794375"/>
            <a:ext cx="12192000" cy="106362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200" b="0" i="0">
                <a:solidFill>
                  <a:schemeClr val="bg1"/>
                </a:solidFill>
                <a:latin typeface="Open Sans" panose="020B0606030504020204" pitchFamily="34" charset="0"/>
                <a:ea typeface="Muli" charset="0"/>
                <a:cs typeface="Muli" charset="0"/>
              </a:rPr>
              <a:t>v</a:t>
            </a:r>
          </a:p>
        </p:txBody>
      </p:sp>
      <p:pic>
        <p:nvPicPr>
          <p:cNvPr id="8" name="Kuva 7" descr="Kuva, joka sisältää kohteen teksti, clipart-kuva&#10;&#10;Kuvaus luotu automaattisesti">
            <a:extLst>
              <a:ext uri="{FF2B5EF4-FFF2-40B4-BE49-F238E27FC236}">
                <a16:creationId xmlns:a16="http://schemas.microsoft.com/office/drawing/2014/main" id="{B594801E-0130-4C80-B90E-07894186B45C}"/>
              </a:ext>
            </a:extLst>
          </p:cNvPr>
          <p:cNvPicPr>
            <a:picLocks noChangeAspect="1"/>
          </p:cNvPicPr>
          <p:nvPr userDrawn="1"/>
        </p:nvPicPr>
        <p:blipFill>
          <a:blip r:embed="rId3"/>
          <a:stretch>
            <a:fillRect/>
          </a:stretch>
        </p:blipFill>
        <p:spPr>
          <a:xfrm>
            <a:off x="10089708" y="4555920"/>
            <a:ext cx="1781460" cy="457200"/>
          </a:xfrm>
          <a:prstGeom prst="rect">
            <a:avLst/>
          </a:prstGeom>
        </p:spPr>
      </p:pic>
    </p:spTree>
    <p:extLst>
      <p:ext uri="{BB962C8B-B14F-4D97-AF65-F5344CB8AC3E}">
        <p14:creationId xmlns:p14="http://schemas.microsoft.com/office/powerpoint/2010/main" val="3729248830"/>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Väliotsikk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22B642-AE97-EA48-AD57-BE8B4DAEB06D}"/>
              </a:ext>
            </a:extLst>
          </p:cNvPr>
          <p:cNvPicPr>
            <a:picLocks noChangeAspect="1"/>
          </p:cNvPicPr>
          <p:nvPr userDrawn="1"/>
        </p:nvPicPr>
        <p:blipFill>
          <a:blip r:embed="rId2"/>
          <a:stretch>
            <a:fillRect/>
          </a:stretch>
        </p:blipFill>
        <p:spPr>
          <a:xfrm>
            <a:off x="0" y="1066410"/>
            <a:ext cx="12192000" cy="4762500"/>
          </a:xfrm>
          <a:prstGeom prst="rect">
            <a:avLst/>
          </a:prstGeom>
        </p:spPr>
      </p:pic>
      <p:sp>
        <p:nvSpPr>
          <p:cNvPr id="7" name="Title 9">
            <a:extLst>
              <a:ext uri="{FF2B5EF4-FFF2-40B4-BE49-F238E27FC236}">
                <a16:creationId xmlns:a16="http://schemas.microsoft.com/office/drawing/2014/main" id="{74DAF142-CEC6-9547-B93D-C5E408C625C7}"/>
              </a:ext>
            </a:extLst>
          </p:cNvPr>
          <p:cNvSpPr>
            <a:spLocks noGrp="1"/>
          </p:cNvSpPr>
          <p:nvPr>
            <p:ph type="title" hasCustomPrompt="1"/>
          </p:nvPr>
        </p:nvSpPr>
        <p:spPr>
          <a:xfrm>
            <a:off x="3411648" y="2868955"/>
            <a:ext cx="8028678" cy="698835"/>
          </a:xfrm>
        </p:spPr>
        <p:txBody>
          <a:bodyPr/>
          <a:lstStyle>
            <a:lvl1pPr>
              <a:defRPr sz="44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MUOKKAA TEKSTIÄ</a:t>
            </a:r>
            <a:endParaRPr lang="fi-FI"/>
          </a:p>
        </p:txBody>
      </p:sp>
      <p:sp>
        <p:nvSpPr>
          <p:cNvPr id="6" name="Rectangle 5">
            <a:extLst>
              <a:ext uri="{FF2B5EF4-FFF2-40B4-BE49-F238E27FC236}">
                <a16:creationId xmlns:a16="http://schemas.microsoft.com/office/drawing/2014/main" id="{5FA314E0-A8D0-434C-BAAB-E737556607CD}"/>
              </a:ext>
            </a:extLst>
          </p:cNvPr>
          <p:cNvSpPr/>
          <p:nvPr userDrawn="1"/>
        </p:nvSpPr>
        <p:spPr>
          <a:xfrm>
            <a:off x="0" y="5828910"/>
            <a:ext cx="12192000" cy="102909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200" b="0" i="0">
                <a:solidFill>
                  <a:schemeClr val="bg1"/>
                </a:solidFill>
                <a:latin typeface="Open Sans" panose="020B0606030504020204" pitchFamily="34" charset="0"/>
                <a:ea typeface="Muli" charset="0"/>
                <a:cs typeface="Muli" charset="0"/>
              </a:rPr>
              <a:t>v</a:t>
            </a:r>
          </a:p>
        </p:txBody>
      </p:sp>
      <p:pic>
        <p:nvPicPr>
          <p:cNvPr id="8" name="Kuva 7" descr="Kuva, joka sisältää kohteen teksti, clipart-kuva&#10;&#10;Kuvaus luotu automaattisesti">
            <a:extLst>
              <a:ext uri="{FF2B5EF4-FFF2-40B4-BE49-F238E27FC236}">
                <a16:creationId xmlns:a16="http://schemas.microsoft.com/office/drawing/2014/main" id="{208E4429-428D-45BC-AFA6-CDE19A0D76DF}"/>
              </a:ext>
            </a:extLst>
          </p:cNvPr>
          <p:cNvPicPr>
            <a:picLocks noChangeAspect="1"/>
          </p:cNvPicPr>
          <p:nvPr userDrawn="1"/>
        </p:nvPicPr>
        <p:blipFill>
          <a:blip r:embed="rId3"/>
          <a:stretch>
            <a:fillRect/>
          </a:stretch>
        </p:blipFill>
        <p:spPr>
          <a:xfrm>
            <a:off x="10089708" y="4555920"/>
            <a:ext cx="1781460" cy="457200"/>
          </a:xfrm>
          <a:prstGeom prst="rect">
            <a:avLst/>
          </a:prstGeom>
        </p:spPr>
      </p:pic>
    </p:spTree>
    <p:extLst>
      <p:ext uri="{BB962C8B-B14F-4D97-AF65-F5344CB8AC3E}">
        <p14:creationId xmlns:p14="http://schemas.microsoft.com/office/powerpoint/2010/main" val="10954226"/>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Väliotsikk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1648852-5A08-0E4B-8EA6-14C73977FC50}"/>
              </a:ext>
            </a:extLst>
          </p:cNvPr>
          <p:cNvPicPr>
            <a:picLocks noChangeAspect="1"/>
          </p:cNvPicPr>
          <p:nvPr userDrawn="1"/>
        </p:nvPicPr>
        <p:blipFill>
          <a:blip r:embed="rId2"/>
          <a:stretch>
            <a:fillRect/>
          </a:stretch>
        </p:blipFill>
        <p:spPr>
          <a:xfrm>
            <a:off x="0" y="1066410"/>
            <a:ext cx="12192000" cy="4762500"/>
          </a:xfrm>
          <a:prstGeom prst="rect">
            <a:avLst/>
          </a:prstGeom>
        </p:spPr>
      </p:pic>
      <p:sp>
        <p:nvSpPr>
          <p:cNvPr id="7" name="Title 9">
            <a:extLst>
              <a:ext uri="{FF2B5EF4-FFF2-40B4-BE49-F238E27FC236}">
                <a16:creationId xmlns:a16="http://schemas.microsoft.com/office/drawing/2014/main" id="{34DF447E-DDD4-0A41-A31F-83F075EC3377}"/>
              </a:ext>
            </a:extLst>
          </p:cNvPr>
          <p:cNvSpPr>
            <a:spLocks noGrp="1"/>
          </p:cNvSpPr>
          <p:nvPr>
            <p:ph type="title" hasCustomPrompt="1"/>
          </p:nvPr>
        </p:nvSpPr>
        <p:spPr>
          <a:xfrm>
            <a:off x="3411648" y="2868955"/>
            <a:ext cx="8028678" cy="698835"/>
          </a:xfrm>
        </p:spPr>
        <p:txBody>
          <a:bodyPr/>
          <a:lstStyle>
            <a:lvl1pPr>
              <a:defRPr sz="44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MUOKKAA TEKSTIÄ</a:t>
            </a:r>
            <a:endParaRPr lang="fi-FI"/>
          </a:p>
        </p:txBody>
      </p:sp>
      <p:sp>
        <p:nvSpPr>
          <p:cNvPr id="6" name="Rectangle 5">
            <a:extLst>
              <a:ext uri="{FF2B5EF4-FFF2-40B4-BE49-F238E27FC236}">
                <a16:creationId xmlns:a16="http://schemas.microsoft.com/office/drawing/2014/main" id="{34A961C0-6FB0-E046-BF8E-336990A33559}"/>
              </a:ext>
            </a:extLst>
          </p:cNvPr>
          <p:cNvSpPr/>
          <p:nvPr userDrawn="1"/>
        </p:nvSpPr>
        <p:spPr>
          <a:xfrm>
            <a:off x="0" y="5828911"/>
            <a:ext cx="12192000" cy="10290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200" b="0" i="0">
                <a:solidFill>
                  <a:schemeClr val="bg1"/>
                </a:solidFill>
                <a:latin typeface="Open Sans" panose="020B0606030504020204" pitchFamily="34" charset="0"/>
                <a:ea typeface="Muli" charset="0"/>
                <a:cs typeface="Muli" charset="0"/>
              </a:rPr>
              <a:t>v</a:t>
            </a:r>
          </a:p>
        </p:txBody>
      </p:sp>
      <p:pic>
        <p:nvPicPr>
          <p:cNvPr id="8" name="Kuva 7" descr="Kuva, joka sisältää kohteen teksti, clipart-kuva&#10;&#10;Kuvaus luotu automaattisesti">
            <a:extLst>
              <a:ext uri="{FF2B5EF4-FFF2-40B4-BE49-F238E27FC236}">
                <a16:creationId xmlns:a16="http://schemas.microsoft.com/office/drawing/2014/main" id="{885DF4E9-6BC1-4B4F-AD80-402BEFADDA0B}"/>
              </a:ext>
            </a:extLst>
          </p:cNvPr>
          <p:cNvPicPr>
            <a:picLocks noChangeAspect="1"/>
          </p:cNvPicPr>
          <p:nvPr userDrawn="1"/>
        </p:nvPicPr>
        <p:blipFill>
          <a:blip r:embed="rId3"/>
          <a:stretch>
            <a:fillRect/>
          </a:stretch>
        </p:blipFill>
        <p:spPr>
          <a:xfrm>
            <a:off x="10089708" y="4555920"/>
            <a:ext cx="1781460" cy="457200"/>
          </a:xfrm>
          <a:prstGeom prst="rect">
            <a:avLst/>
          </a:prstGeom>
        </p:spPr>
      </p:pic>
    </p:spTree>
    <p:extLst>
      <p:ext uri="{BB962C8B-B14F-4D97-AF65-F5344CB8AC3E}">
        <p14:creationId xmlns:p14="http://schemas.microsoft.com/office/powerpoint/2010/main" val="2353012535"/>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Väliotsikk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8F2AEA-02E7-4C45-B6CA-D129F6D365DA}"/>
              </a:ext>
            </a:extLst>
          </p:cNvPr>
          <p:cNvPicPr>
            <a:picLocks noChangeAspect="1"/>
          </p:cNvPicPr>
          <p:nvPr userDrawn="1"/>
        </p:nvPicPr>
        <p:blipFill>
          <a:blip r:embed="rId2"/>
          <a:stretch>
            <a:fillRect/>
          </a:stretch>
        </p:blipFill>
        <p:spPr>
          <a:xfrm>
            <a:off x="0" y="1063625"/>
            <a:ext cx="12192000" cy="4730750"/>
          </a:xfrm>
          <a:prstGeom prst="rect">
            <a:avLst/>
          </a:prstGeom>
        </p:spPr>
      </p:pic>
      <p:sp>
        <p:nvSpPr>
          <p:cNvPr id="7" name="Title 9">
            <a:extLst>
              <a:ext uri="{FF2B5EF4-FFF2-40B4-BE49-F238E27FC236}">
                <a16:creationId xmlns:a16="http://schemas.microsoft.com/office/drawing/2014/main" id="{F580509F-42AF-BA4B-B371-AE897BC81548}"/>
              </a:ext>
            </a:extLst>
          </p:cNvPr>
          <p:cNvSpPr>
            <a:spLocks noGrp="1"/>
          </p:cNvSpPr>
          <p:nvPr>
            <p:ph type="title" hasCustomPrompt="1"/>
          </p:nvPr>
        </p:nvSpPr>
        <p:spPr>
          <a:xfrm>
            <a:off x="3411648" y="2868955"/>
            <a:ext cx="8028678" cy="698835"/>
          </a:xfrm>
        </p:spPr>
        <p:txBody>
          <a:bodyPr/>
          <a:lstStyle>
            <a:lvl1pPr>
              <a:defRPr sz="44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MUOKKAA TEKSTIÄ</a:t>
            </a:r>
            <a:endParaRPr lang="fi-FI"/>
          </a:p>
        </p:txBody>
      </p:sp>
      <p:sp>
        <p:nvSpPr>
          <p:cNvPr id="6" name="Rectangle 5">
            <a:extLst>
              <a:ext uri="{FF2B5EF4-FFF2-40B4-BE49-F238E27FC236}">
                <a16:creationId xmlns:a16="http://schemas.microsoft.com/office/drawing/2014/main" id="{1CE0FD43-511A-5B46-A035-4701D83BD237}"/>
              </a:ext>
            </a:extLst>
          </p:cNvPr>
          <p:cNvSpPr/>
          <p:nvPr userDrawn="1"/>
        </p:nvSpPr>
        <p:spPr>
          <a:xfrm>
            <a:off x="0" y="5794375"/>
            <a:ext cx="12192000" cy="10636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200" b="0" i="0">
                <a:solidFill>
                  <a:schemeClr val="bg1"/>
                </a:solidFill>
                <a:latin typeface="Open Sans" panose="020B0606030504020204" pitchFamily="34" charset="0"/>
                <a:ea typeface="Muli" charset="0"/>
                <a:cs typeface="Muli" charset="0"/>
              </a:rPr>
              <a:t>v</a:t>
            </a:r>
          </a:p>
        </p:txBody>
      </p:sp>
      <p:pic>
        <p:nvPicPr>
          <p:cNvPr id="8" name="Kuva 7" descr="Kuva, joka sisältää kohteen teksti, clipart-kuva&#10;&#10;Kuvaus luotu automaattisesti">
            <a:extLst>
              <a:ext uri="{FF2B5EF4-FFF2-40B4-BE49-F238E27FC236}">
                <a16:creationId xmlns:a16="http://schemas.microsoft.com/office/drawing/2014/main" id="{3FBC4BD7-E4AF-40BB-B5B8-C75B501DA127}"/>
              </a:ext>
            </a:extLst>
          </p:cNvPr>
          <p:cNvPicPr>
            <a:picLocks noChangeAspect="1"/>
          </p:cNvPicPr>
          <p:nvPr userDrawn="1"/>
        </p:nvPicPr>
        <p:blipFill>
          <a:blip r:embed="rId3"/>
          <a:stretch>
            <a:fillRect/>
          </a:stretch>
        </p:blipFill>
        <p:spPr>
          <a:xfrm>
            <a:off x="10089708" y="4555920"/>
            <a:ext cx="1781460" cy="457200"/>
          </a:xfrm>
          <a:prstGeom prst="rect">
            <a:avLst/>
          </a:prstGeom>
        </p:spPr>
      </p:pic>
    </p:spTree>
    <p:extLst>
      <p:ext uri="{BB962C8B-B14F-4D97-AF65-F5344CB8AC3E}">
        <p14:creationId xmlns:p14="http://schemas.microsoft.com/office/powerpoint/2010/main" val="221080770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sida (2)">
    <p:bg>
      <p:bgPr>
        <a:solidFill>
          <a:schemeClr val="accent2"/>
        </a:solidFill>
        <a:effectLst/>
      </p:bgPr>
    </p:bg>
    <p:spTree>
      <p:nvGrpSpPr>
        <p:cNvPr id="1" name=""/>
        <p:cNvGrpSpPr/>
        <p:nvPr/>
      </p:nvGrpSpPr>
      <p:grpSpPr>
        <a:xfrm>
          <a:off x="0" y="0"/>
          <a:ext cx="0" cy="0"/>
          <a:chOff x="0" y="0"/>
          <a:chExt cx="0" cy="0"/>
        </a:xfrm>
      </p:grpSpPr>
      <p:sp>
        <p:nvSpPr>
          <p:cNvPr id="2" name="Rubrik 1"/>
          <p:cNvSpPr>
            <a:spLocks noGrp="1"/>
          </p:cNvSpPr>
          <p:nvPr>
            <p:ph type="ctrTitle"/>
          </p:nvPr>
        </p:nvSpPr>
        <p:spPr>
          <a:xfrm>
            <a:off x="803275" y="2025650"/>
            <a:ext cx="2562225" cy="2387600"/>
          </a:xfrm>
        </p:spPr>
        <p:txBody>
          <a:bodyPr anchor="t">
            <a:normAutofit/>
          </a:bodyPr>
          <a:lstStyle>
            <a:lvl1pPr algn="l">
              <a:defRPr sz="4100" cap="all" baseline="0">
                <a:solidFill>
                  <a:schemeClr val="tx1"/>
                </a:solidFill>
              </a:defRPr>
            </a:lvl1pPr>
          </a:lstStyle>
          <a:p>
            <a:r>
              <a:rPr lang="sv-SE"/>
              <a:t>Klicka här för att ändra format</a:t>
            </a:r>
            <a:endParaRPr lang="en-GB"/>
          </a:p>
        </p:txBody>
      </p:sp>
      <p:sp>
        <p:nvSpPr>
          <p:cNvPr id="4" name="Platshållare för datum 3"/>
          <p:cNvSpPr>
            <a:spLocks noGrp="1"/>
          </p:cNvSpPr>
          <p:nvPr>
            <p:ph type="dt" sz="half" idx="10"/>
          </p:nvPr>
        </p:nvSpPr>
        <p:spPr/>
        <p:txBody>
          <a:bodyPr/>
          <a:lstStyle>
            <a:lvl1pPr>
              <a:defRPr>
                <a:solidFill>
                  <a:schemeClr val="tx1"/>
                </a:solidFill>
              </a:defRPr>
            </a:lvl1pPr>
          </a:lstStyle>
          <a:p>
            <a:fld id="{A828C520-761D-466F-978F-A4AC929A9275}" type="datetime1">
              <a:rPr lang="sv-SE" smtClean="0"/>
              <a:t>2022-04-29</a:t>
            </a:fld>
            <a:endParaRPr lang="en-GB"/>
          </a:p>
        </p:txBody>
      </p:sp>
      <p:sp>
        <p:nvSpPr>
          <p:cNvPr id="5" name="Platshållare för sidfot 4"/>
          <p:cNvSpPr>
            <a:spLocks noGrp="1"/>
          </p:cNvSpPr>
          <p:nvPr>
            <p:ph type="ftr" sz="quarter" idx="11"/>
          </p:nvPr>
        </p:nvSpPr>
        <p:spPr>
          <a:xfrm>
            <a:off x="803275" y="260568"/>
            <a:ext cx="1203325" cy="365125"/>
          </a:xfrm>
        </p:spPr>
        <p:txBody>
          <a:bodyPr/>
          <a:lstStyle>
            <a:lvl1pPr>
              <a:defRPr>
                <a:solidFill>
                  <a:schemeClr val="tx1"/>
                </a:solidFill>
              </a:defRPr>
            </a:lvl1pPr>
          </a:lstStyle>
          <a:p>
            <a:r>
              <a:rPr lang="en-GB" err="1"/>
              <a:t>Gendiatur</a:t>
            </a:r>
            <a:r>
              <a:rPr lang="en-GB"/>
              <a:t>, </a:t>
            </a:r>
            <a:r>
              <a:rPr lang="en-GB" err="1"/>
              <a:t>que</a:t>
            </a:r>
            <a:r>
              <a:rPr lang="en-GB"/>
              <a:t>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A3EAEDCA-98D4-4724-9772-C653855CA076}" type="slidenum">
              <a:rPr lang="en-GB" smtClean="0"/>
              <a:pPr/>
              <a:t>‹#›</a:t>
            </a:fld>
            <a:endParaRPr lang="en-GB"/>
          </a:p>
        </p:txBody>
      </p:sp>
      <p:pic>
        <p:nvPicPr>
          <p:cNvPr id="8" name="Bildobjekt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7828" y="235005"/>
            <a:ext cx="1372500" cy="416250"/>
          </a:xfrm>
          <a:prstGeom prst="rect">
            <a:avLst/>
          </a:prstGeom>
        </p:spPr>
      </p:pic>
    </p:spTree>
    <p:extLst>
      <p:ext uri="{BB962C8B-B14F-4D97-AF65-F5344CB8AC3E}">
        <p14:creationId xmlns:p14="http://schemas.microsoft.com/office/powerpoint/2010/main" val="2680397043"/>
      </p:ext>
    </p:extLst>
  </p:cSld>
  <p:clrMapOvr>
    <a:overrideClrMapping bg1="dk1" tx1="lt1" bg2="dk2" tx2="lt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7_Väliotsikk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EF3B8C-A4A6-7E49-8F29-57691FB9312F}"/>
              </a:ext>
            </a:extLst>
          </p:cNvPr>
          <p:cNvPicPr>
            <a:picLocks noChangeAspect="1"/>
          </p:cNvPicPr>
          <p:nvPr userDrawn="1"/>
        </p:nvPicPr>
        <p:blipFill>
          <a:blip r:embed="rId2"/>
          <a:stretch>
            <a:fillRect/>
          </a:stretch>
        </p:blipFill>
        <p:spPr>
          <a:xfrm>
            <a:off x="0" y="1066410"/>
            <a:ext cx="12192000" cy="4762500"/>
          </a:xfrm>
          <a:prstGeom prst="rect">
            <a:avLst/>
          </a:prstGeom>
        </p:spPr>
      </p:pic>
      <p:sp>
        <p:nvSpPr>
          <p:cNvPr id="7" name="Title 9">
            <a:extLst>
              <a:ext uri="{FF2B5EF4-FFF2-40B4-BE49-F238E27FC236}">
                <a16:creationId xmlns:a16="http://schemas.microsoft.com/office/drawing/2014/main" id="{0001687D-7352-584B-A0B3-DA1F6345A330}"/>
              </a:ext>
            </a:extLst>
          </p:cNvPr>
          <p:cNvSpPr>
            <a:spLocks noGrp="1"/>
          </p:cNvSpPr>
          <p:nvPr>
            <p:ph type="title" hasCustomPrompt="1"/>
          </p:nvPr>
        </p:nvSpPr>
        <p:spPr>
          <a:xfrm>
            <a:off x="3411648" y="2868955"/>
            <a:ext cx="8028678" cy="698835"/>
          </a:xfrm>
        </p:spPr>
        <p:txBody>
          <a:bodyPr/>
          <a:lstStyle>
            <a:lvl1pPr>
              <a:defRPr sz="44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MUOKKAA TEKSTIÄ</a:t>
            </a:r>
            <a:endParaRPr lang="fi-FI"/>
          </a:p>
        </p:txBody>
      </p:sp>
      <p:sp>
        <p:nvSpPr>
          <p:cNvPr id="6" name="Rectangle 5">
            <a:extLst>
              <a:ext uri="{FF2B5EF4-FFF2-40B4-BE49-F238E27FC236}">
                <a16:creationId xmlns:a16="http://schemas.microsoft.com/office/drawing/2014/main" id="{C351576E-8AED-2F46-A4C9-FDE916000998}"/>
              </a:ext>
            </a:extLst>
          </p:cNvPr>
          <p:cNvSpPr/>
          <p:nvPr userDrawn="1"/>
        </p:nvSpPr>
        <p:spPr>
          <a:xfrm>
            <a:off x="0" y="5828911"/>
            <a:ext cx="12192000" cy="10290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200" b="0" i="0">
                <a:solidFill>
                  <a:schemeClr val="bg1"/>
                </a:solidFill>
                <a:latin typeface="Open Sans" panose="020B0606030504020204" pitchFamily="34" charset="0"/>
                <a:ea typeface="Muli" charset="0"/>
                <a:cs typeface="Muli" charset="0"/>
              </a:rPr>
              <a:t>v</a:t>
            </a:r>
          </a:p>
        </p:txBody>
      </p:sp>
      <p:pic>
        <p:nvPicPr>
          <p:cNvPr id="8" name="Kuva 7" descr="Kuva, joka sisältää kohteen teksti, clipart-kuva&#10;&#10;Kuvaus luotu automaattisesti">
            <a:extLst>
              <a:ext uri="{FF2B5EF4-FFF2-40B4-BE49-F238E27FC236}">
                <a16:creationId xmlns:a16="http://schemas.microsoft.com/office/drawing/2014/main" id="{DE769534-2990-4C9B-A86A-813F34A74889}"/>
              </a:ext>
            </a:extLst>
          </p:cNvPr>
          <p:cNvPicPr>
            <a:picLocks noChangeAspect="1"/>
          </p:cNvPicPr>
          <p:nvPr userDrawn="1"/>
        </p:nvPicPr>
        <p:blipFill>
          <a:blip r:embed="rId3"/>
          <a:stretch>
            <a:fillRect/>
          </a:stretch>
        </p:blipFill>
        <p:spPr>
          <a:xfrm>
            <a:off x="10089708" y="4555920"/>
            <a:ext cx="1781460" cy="457200"/>
          </a:xfrm>
          <a:prstGeom prst="rect">
            <a:avLst/>
          </a:prstGeom>
        </p:spPr>
      </p:pic>
    </p:spTree>
    <p:extLst>
      <p:ext uri="{BB962C8B-B14F-4D97-AF65-F5344CB8AC3E}">
        <p14:creationId xmlns:p14="http://schemas.microsoft.com/office/powerpoint/2010/main" val="2580687349"/>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Väliotsikko">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08578FA-2884-0649-BCFE-F750BEE41AAC}"/>
              </a:ext>
            </a:extLst>
          </p:cNvPr>
          <p:cNvPicPr>
            <a:picLocks noChangeAspect="1"/>
          </p:cNvPicPr>
          <p:nvPr userDrawn="1"/>
        </p:nvPicPr>
        <p:blipFill>
          <a:blip r:embed="rId2"/>
          <a:stretch>
            <a:fillRect/>
          </a:stretch>
        </p:blipFill>
        <p:spPr>
          <a:xfrm>
            <a:off x="0" y="1066410"/>
            <a:ext cx="12192000" cy="4762500"/>
          </a:xfrm>
          <a:prstGeom prst="rect">
            <a:avLst/>
          </a:prstGeom>
        </p:spPr>
      </p:pic>
      <p:sp>
        <p:nvSpPr>
          <p:cNvPr id="7" name="Title 9">
            <a:extLst>
              <a:ext uri="{FF2B5EF4-FFF2-40B4-BE49-F238E27FC236}">
                <a16:creationId xmlns:a16="http://schemas.microsoft.com/office/drawing/2014/main" id="{1F24AB3F-676C-FA45-8154-E3DAFEBF9B61}"/>
              </a:ext>
            </a:extLst>
          </p:cNvPr>
          <p:cNvSpPr>
            <a:spLocks noGrp="1"/>
          </p:cNvSpPr>
          <p:nvPr>
            <p:ph type="title" hasCustomPrompt="1"/>
          </p:nvPr>
        </p:nvSpPr>
        <p:spPr>
          <a:xfrm>
            <a:off x="3411648" y="2868955"/>
            <a:ext cx="8028678" cy="698835"/>
          </a:xfrm>
        </p:spPr>
        <p:txBody>
          <a:bodyPr/>
          <a:lstStyle>
            <a:lvl1pPr>
              <a:defRPr sz="44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MUOKKAA TEKSTIÄ</a:t>
            </a:r>
            <a:endParaRPr lang="fi-FI"/>
          </a:p>
        </p:txBody>
      </p:sp>
      <p:sp>
        <p:nvSpPr>
          <p:cNvPr id="6" name="Rectangle 5">
            <a:extLst>
              <a:ext uri="{FF2B5EF4-FFF2-40B4-BE49-F238E27FC236}">
                <a16:creationId xmlns:a16="http://schemas.microsoft.com/office/drawing/2014/main" id="{13B84B93-BFE1-B84F-9F14-12FED4665CE6}"/>
              </a:ext>
            </a:extLst>
          </p:cNvPr>
          <p:cNvSpPr/>
          <p:nvPr userDrawn="1"/>
        </p:nvSpPr>
        <p:spPr>
          <a:xfrm>
            <a:off x="0" y="5828911"/>
            <a:ext cx="12192000" cy="10290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200" b="0" i="0">
                <a:solidFill>
                  <a:schemeClr val="bg1"/>
                </a:solidFill>
                <a:latin typeface="Open Sans" panose="020B0606030504020204" pitchFamily="34" charset="0"/>
                <a:ea typeface="Muli" charset="0"/>
                <a:cs typeface="Muli" charset="0"/>
              </a:rPr>
              <a:t>v</a:t>
            </a:r>
          </a:p>
        </p:txBody>
      </p:sp>
      <p:pic>
        <p:nvPicPr>
          <p:cNvPr id="8" name="Kuva 7" descr="Kuva, joka sisältää kohteen teksti, clipart-kuva&#10;&#10;Kuvaus luotu automaattisesti">
            <a:extLst>
              <a:ext uri="{FF2B5EF4-FFF2-40B4-BE49-F238E27FC236}">
                <a16:creationId xmlns:a16="http://schemas.microsoft.com/office/drawing/2014/main" id="{A914D58B-0E94-4407-AB63-7C1460841903}"/>
              </a:ext>
            </a:extLst>
          </p:cNvPr>
          <p:cNvPicPr>
            <a:picLocks noChangeAspect="1"/>
          </p:cNvPicPr>
          <p:nvPr userDrawn="1"/>
        </p:nvPicPr>
        <p:blipFill>
          <a:blip r:embed="rId3"/>
          <a:stretch>
            <a:fillRect/>
          </a:stretch>
        </p:blipFill>
        <p:spPr>
          <a:xfrm>
            <a:off x="10089708" y="4555920"/>
            <a:ext cx="1781460" cy="457200"/>
          </a:xfrm>
          <a:prstGeom prst="rect">
            <a:avLst/>
          </a:prstGeom>
        </p:spPr>
      </p:pic>
    </p:spTree>
    <p:extLst>
      <p:ext uri="{BB962C8B-B14F-4D97-AF65-F5344CB8AC3E}">
        <p14:creationId xmlns:p14="http://schemas.microsoft.com/office/powerpoint/2010/main" val="2911832353"/>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9_Väliotsikk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777C1E-E25E-3646-9247-CB52B6334CC7}"/>
              </a:ext>
            </a:extLst>
          </p:cNvPr>
          <p:cNvPicPr>
            <a:picLocks noChangeAspect="1"/>
          </p:cNvPicPr>
          <p:nvPr userDrawn="1"/>
        </p:nvPicPr>
        <p:blipFill>
          <a:blip r:embed="rId2"/>
          <a:stretch>
            <a:fillRect/>
          </a:stretch>
        </p:blipFill>
        <p:spPr>
          <a:xfrm>
            <a:off x="0" y="1065013"/>
            <a:ext cx="12192000" cy="4762500"/>
          </a:xfrm>
          <a:prstGeom prst="rect">
            <a:avLst/>
          </a:prstGeom>
        </p:spPr>
      </p:pic>
      <p:sp>
        <p:nvSpPr>
          <p:cNvPr id="7" name="Title 9">
            <a:extLst>
              <a:ext uri="{FF2B5EF4-FFF2-40B4-BE49-F238E27FC236}">
                <a16:creationId xmlns:a16="http://schemas.microsoft.com/office/drawing/2014/main" id="{49E17BA8-50B4-F743-B77C-4F219185DDE1}"/>
              </a:ext>
            </a:extLst>
          </p:cNvPr>
          <p:cNvSpPr>
            <a:spLocks noGrp="1"/>
          </p:cNvSpPr>
          <p:nvPr>
            <p:ph type="title" hasCustomPrompt="1"/>
          </p:nvPr>
        </p:nvSpPr>
        <p:spPr>
          <a:xfrm>
            <a:off x="4987529" y="2868955"/>
            <a:ext cx="6835443" cy="698835"/>
          </a:xfrm>
        </p:spPr>
        <p:txBody>
          <a:bodyPr/>
          <a:lstStyle>
            <a:lvl1pPr>
              <a:defRPr sz="44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stStyle>
          <a:p>
            <a:r>
              <a:rPr lang="en-US"/>
              <a:t>MUOKKAA TEKSTIÄ</a:t>
            </a:r>
            <a:endParaRPr lang="fi-FI"/>
          </a:p>
        </p:txBody>
      </p:sp>
      <p:sp>
        <p:nvSpPr>
          <p:cNvPr id="6" name="Rectangle 5">
            <a:extLst>
              <a:ext uri="{FF2B5EF4-FFF2-40B4-BE49-F238E27FC236}">
                <a16:creationId xmlns:a16="http://schemas.microsoft.com/office/drawing/2014/main" id="{89ADBC1F-801F-FA4A-A4FA-3A4156EA0DDF}"/>
              </a:ext>
            </a:extLst>
          </p:cNvPr>
          <p:cNvSpPr/>
          <p:nvPr userDrawn="1"/>
        </p:nvSpPr>
        <p:spPr>
          <a:xfrm>
            <a:off x="0" y="5827513"/>
            <a:ext cx="12192000" cy="10304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200" b="0" i="0">
                <a:solidFill>
                  <a:schemeClr val="bg1"/>
                </a:solidFill>
                <a:latin typeface="Open Sans" panose="020B0606030504020204" pitchFamily="34" charset="0"/>
                <a:ea typeface="Muli" charset="0"/>
                <a:cs typeface="Muli" charset="0"/>
              </a:rPr>
              <a:t>v</a:t>
            </a:r>
          </a:p>
        </p:txBody>
      </p:sp>
      <p:pic>
        <p:nvPicPr>
          <p:cNvPr id="8" name="Kuva 7" descr="Kuva, joka sisältää kohteen teksti, clipart-kuva&#10;&#10;Kuvaus luotu automaattisesti">
            <a:extLst>
              <a:ext uri="{FF2B5EF4-FFF2-40B4-BE49-F238E27FC236}">
                <a16:creationId xmlns:a16="http://schemas.microsoft.com/office/drawing/2014/main" id="{E1281CBC-F693-47FD-831E-9D1DC1F9D718}"/>
              </a:ext>
            </a:extLst>
          </p:cNvPr>
          <p:cNvPicPr>
            <a:picLocks noChangeAspect="1"/>
          </p:cNvPicPr>
          <p:nvPr userDrawn="1"/>
        </p:nvPicPr>
        <p:blipFill>
          <a:blip r:embed="rId3"/>
          <a:stretch>
            <a:fillRect/>
          </a:stretch>
        </p:blipFill>
        <p:spPr>
          <a:xfrm>
            <a:off x="10089708" y="4555920"/>
            <a:ext cx="1781460" cy="457200"/>
          </a:xfrm>
          <a:prstGeom prst="rect">
            <a:avLst/>
          </a:prstGeom>
        </p:spPr>
      </p:pic>
    </p:spTree>
    <p:extLst>
      <p:ext uri="{BB962C8B-B14F-4D97-AF65-F5344CB8AC3E}">
        <p14:creationId xmlns:p14="http://schemas.microsoft.com/office/powerpoint/2010/main" val="1770966818"/>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Sisällysluettelo">
    <p:spTree>
      <p:nvGrpSpPr>
        <p:cNvPr id="1" name=""/>
        <p:cNvGrpSpPr/>
        <p:nvPr/>
      </p:nvGrpSpPr>
      <p:grpSpPr>
        <a:xfrm>
          <a:off x="0" y="0"/>
          <a:ext cx="0" cy="0"/>
          <a:chOff x="0" y="0"/>
          <a:chExt cx="0" cy="0"/>
        </a:xfrm>
      </p:grpSpPr>
      <p:sp>
        <p:nvSpPr>
          <p:cNvPr id="6" name="Suunnikas 30">
            <a:extLst>
              <a:ext uri="{FF2B5EF4-FFF2-40B4-BE49-F238E27FC236}">
                <a16:creationId xmlns:a16="http://schemas.microsoft.com/office/drawing/2014/main" id="{98BE3486-81B1-4D47-9D7C-AF5CFB4B635D}"/>
              </a:ext>
            </a:extLst>
          </p:cNvPr>
          <p:cNvSpPr/>
          <p:nvPr userDrawn="1"/>
        </p:nvSpPr>
        <p:spPr>
          <a:xfrm>
            <a:off x="2215143" y="2752808"/>
            <a:ext cx="859941" cy="646653"/>
          </a:xfrm>
          <a:prstGeom prst="parallelogram">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rPr>
              <a:t>2</a:t>
            </a:r>
          </a:p>
        </p:txBody>
      </p:sp>
      <p:sp>
        <p:nvSpPr>
          <p:cNvPr id="7" name="Suunnikas 61">
            <a:extLst>
              <a:ext uri="{FF2B5EF4-FFF2-40B4-BE49-F238E27FC236}">
                <a16:creationId xmlns:a16="http://schemas.microsoft.com/office/drawing/2014/main" id="{95A23022-BB21-7F45-BF9E-1C07BA00E711}"/>
              </a:ext>
            </a:extLst>
          </p:cNvPr>
          <p:cNvSpPr/>
          <p:nvPr userDrawn="1"/>
        </p:nvSpPr>
        <p:spPr>
          <a:xfrm>
            <a:off x="2409176" y="1921166"/>
            <a:ext cx="859941" cy="646653"/>
          </a:xfrm>
          <a:prstGeom prst="parallelogram">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rPr>
              <a:t>1</a:t>
            </a:r>
          </a:p>
        </p:txBody>
      </p:sp>
      <p:sp>
        <p:nvSpPr>
          <p:cNvPr id="8" name="Suunnikas 65">
            <a:extLst>
              <a:ext uri="{FF2B5EF4-FFF2-40B4-BE49-F238E27FC236}">
                <a16:creationId xmlns:a16="http://schemas.microsoft.com/office/drawing/2014/main" id="{1BCC7384-1104-3043-B7FE-C6B8E7812DCC}"/>
              </a:ext>
            </a:extLst>
          </p:cNvPr>
          <p:cNvSpPr/>
          <p:nvPr userDrawn="1"/>
        </p:nvSpPr>
        <p:spPr>
          <a:xfrm>
            <a:off x="2013471" y="3585954"/>
            <a:ext cx="859941" cy="646653"/>
          </a:xfrm>
          <a:prstGeom prst="parallelogram">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rPr>
              <a:t>3</a:t>
            </a:r>
          </a:p>
        </p:txBody>
      </p:sp>
      <p:sp>
        <p:nvSpPr>
          <p:cNvPr id="9" name="Suunnikas 69">
            <a:extLst>
              <a:ext uri="{FF2B5EF4-FFF2-40B4-BE49-F238E27FC236}">
                <a16:creationId xmlns:a16="http://schemas.microsoft.com/office/drawing/2014/main" id="{14642D4D-324D-634B-9A62-98F4F3B501C7}"/>
              </a:ext>
            </a:extLst>
          </p:cNvPr>
          <p:cNvSpPr/>
          <p:nvPr userDrawn="1"/>
        </p:nvSpPr>
        <p:spPr>
          <a:xfrm>
            <a:off x="6845964" y="2752808"/>
            <a:ext cx="859941" cy="646653"/>
          </a:xfrm>
          <a:prstGeom prst="parallelogram">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rPr>
              <a:t>7</a:t>
            </a:r>
          </a:p>
        </p:txBody>
      </p:sp>
      <p:sp>
        <p:nvSpPr>
          <p:cNvPr id="10" name="Suunnikas 74">
            <a:extLst>
              <a:ext uri="{FF2B5EF4-FFF2-40B4-BE49-F238E27FC236}">
                <a16:creationId xmlns:a16="http://schemas.microsoft.com/office/drawing/2014/main" id="{6097AC3D-1621-8D46-8E6E-320ED906D469}"/>
              </a:ext>
            </a:extLst>
          </p:cNvPr>
          <p:cNvSpPr/>
          <p:nvPr userDrawn="1"/>
        </p:nvSpPr>
        <p:spPr>
          <a:xfrm>
            <a:off x="7039997" y="1921166"/>
            <a:ext cx="859941" cy="646653"/>
          </a:xfrm>
          <a:prstGeom prst="parallelogram">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rPr>
              <a:t>6</a:t>
            </a:r>
          </a:p>
        </p:txBody>
      </p:sp>
      <p:sp>
        <p:nvSpPr>
          <p:cNvPr id="11" name="Suunnikas 78">
            <a:extLst>
              <a:ext uri="{FF2B5EF4-FFF2-40B4-BE49-F238E27FC236}">
                <a16:creationId xmlns:a16="http://schemas.microsoft.com/office/drawing/2014/main" id="{FAFF0CDC-469A-F445-98D8-809EA10DC5C1}"/>
              </a:ext>
            </a:extLst>
          </p:cNvPr>
          <p:cNvSpPr/>
          <p:nvPr userDrawn="1"/>
        </p:nvSpPr>
        <p:spPr>
          <a:xfrm>
            <a:off x="6644292" y="3585954"/>
            <a:ext cx="859941" cy="646653"/>
          </a:xfrm>
          <a:prstGeom prst="parallelogram">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rPr>
              <a:t>8</a:t>
            </a:r>
          </a:p>
        </p:txBody>
      </p:sp>
      <p:sp>
        <p:nvSpPr>
          <p:cNvPr id="12" name="Suunnikas 30">
            <a:extLst>
              <a:ext uri="{FF2B5EF4-FFF2-40B4-BE49-F238E27FC236}">
                <a16:creationId xmlns:a16="http://schemas.microsoft.com/office/drawing/2014/main" id="{A1D1703A-9868-A442-A0FB-37D6C8037440}"/>
              </a:ext>
            </a:extLst>
          </p:cNvPr>
          <p:cNvSpPr/>
          <p:nvPr userDrawn="1"/>
        </p:nvSpPr>
        <p:spPr>
          <a:xfrm>
            <a:off x="1809403" y="4456061"/>
            <a:ext cx="859941" cy="646653"/>
          </a:xfrm>
          <a:prstGeom prst="parallelogram">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rPr>
              <a:t>4</a:t>
            </a:r>
          </a:p>
        </p:txBody>
      </p:sp>
      <p:sp>
        <p:nvSpPr>
          <p:cNvPr id="13" name="Suunnikas 65">
            <a:extLst>
              <a:ext uri="{FF2B5EF4-FFF2-40B4-BE49-F238E27FC236}">
                <a16:creationId xmlns:a16="http://schemas.microsoft.com/office/drawing/2014/main" id="{2B9F9399-33D6-AF4C-831F-D54CC921BFF5}"/>
              </a:ext>
            </a:extLst>
          </p:cNvPr>
          <p:cNvSpPr/>
          <p:nvPr userDrawn="1"/>
        </p:nvSpPr>
        <p:spPr>
          <a:xfrm>
            <a:off x="1572106" y="5336707"/>
            <a:ext cx="859941" cy="646653"/>
          </a:xfrm>
          <a:prstGeom prst="parallelogram">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rPr>
              <a:t>5</a:t>
            </a:r>
          </a:p>
        </p:txBody>
      </p:sp>
      <p:sp>
        <p:nvSpPr>
          <p:cNvPr id="14" name="Suunnikas 69">
            <a:extLst>
              <a:ext uri="{FF2B5EF4-FFF2-40B4-BE49-F238E27FC236}">
                <a16:creationId xmlns:a16="http://schemas.microsoft.com/office/drawing/2014/main" id="{A9B2B76D-FADE-9245-B9F7-5B11470C4806}"/>
              </a:ext>
            </a:extLst>
          </p:cNvPr>
          <p:cNvSpPr/>
          <p:nvPr userDrawn="1"/>
        </p:nvSpPr>
        <p:spPr>
          <a:xfrm>
            <a:off x="6440224" y="4456061"/>
            <a:ext cx="859941" cy="646653"/>
          </a:xfrm>
          <a:prstGeom prst="parallelogram">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rPr>
              <a:t>9</a:t>
            </a:r>
          </a:p>
        </p:txBody>
      </p:sp>
      <p:sp>
        <p:nvSpPr>
          <p:cNvPr id="15" name="Suunnikas 78">
            <a:extLst>
              <a:ext uri="{FF2B5EF4-FFF2-40B4-BE49-F238E27FC236}">
                <a16:creationId xmlns:a16="http://schemas.microsoft.com/office/drawing/2014/main" id="{09EF1CD0-9182-9C41-B51B-4E89DE5A57A4}"/>
              </a:ext>
            </a:extLst>
          </p:cNvPr>
          <p:cNvSpPr/>
          <p:nvPr userDrawn="1"/>
        </p:nvSpPr>
        <p:spPr>
          <a:xfrm>
            <a:off x="6202927" y="5336707"/>
            <a:ext cx="859941" cy="646653"/>
          </a:xfrm>
          <a:prstGeom prst="parallelogram">
            <a:avLst/>
          </a:prstGeom>
          <a:solidFill>
            <a:schemeClr val="accent1"/>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rPr>
              <a:t>10</a:t>
            </a:r>
          </a:p>
        </p:txBody>
      </p:sp>
      <p:sp>
        <p:nvSpPr>
          <p:cNvPr id="3" name="Text Placeholder 2">
            <a:extLst>
              <a:ext uri="{FF2B5EF4-FFF2-40B4-BE49-F238E27FC236}">
                <a16:creationId xmlns:a16="http://schemas.microsoft.com/office/drawing/2014/main" id="{CBA4BF2A-2AE6-1A43-A193-73900BC21427}"/>
              </a:ext>
            </a:extLst>
          </p:cNvPr>
          <p:cNvSpPr>
            <a:spLocks noGrp="1"/>
          </p:cNvSpPr>
          <p:nvPr>
            <p:ph type="body" sz="quarter" idx="10" hasCustomPrompt="1"/>
          </p:nvPr>
        </p:nvSpPr>
        <p:spPr>
          <a:xfrm>
            <a:off x="3425825" y="1920875"/>
            <a:ext cx="2455863" cy="647700"/>
          </a:xfrm>
        </p:spPr>
        <p:txBody>
          <a:bodyPr/>
          <a:lstStyle>
            <a:lvl1pPr marL="0" indent="0">
              <a:buFontTx/>
              <a:buNone/>
              <a:defRPr/>
            </a:lvl1pPr>
            <a:lvl2pPr marL="239176" indent="0">
              <a:buFontTx/>
              <a:buNone/>
              <a:defRPr/>
            </a:lvl2pPr>
            <a:lvl3pPr marL="474121" indent="0">
              <a:buFontTx/>
              <a:buNone/>
              <a:defRPr/>
            </a:lvl3pPr>
            <a:lvl4pPr marL="601119" indent="0">
              <a:buFontTx/>
              <a:buNone/>
              <a:defRPr/>
            </a:lvl4pPr>
            <a:lvl5pPr marL="719649" indent="0">
              <a:buFontTx/>
              <a:buNone/>
              <a:defRPr/>
            </a:lvl5pPr>
          </a:lstStyle>
          <a:p>
            <a:pPr lvl="0"/>
            <a:r>
              <a:rPr lang="en-US" err="1"/>
              <a:t>Muokkaa</a:t>
            </a:r>
            <a:r>
              <a:rPr lang="en-US"/>
              <a:t> </a:t>
            </a:r>
            <a:r>
              <a:rPr lang="en-US" err="1"/>
              <a:t>tekstiä</a:t>
            </a:r>
            <a:endParaRPr lang="en-US"/>
          </a:p>
        </p:txBody>
      </p:sp>
      <p:sp>
        <p:nvSpPr>
          <p:cNvPr id="16" name="Text Placeholder 2">
            <a:extLst>
              <a:ext uri="{FF2B5EF4-FFF2-40B4-BE49-F238E27FC236}">
                <a16:creationId xmlns:a16="http://schemas.microsoft.com/office/drawing/2014/main" id="{49EC227D-D302-3A44-954B-BF0C78E93CD6}"/>
              </a:ext>
            </a:extLst>
          </p:cNvPr>
          <p:cNvSpPr>
            <a:spLocks noGrp="1"/>
          </p:cNvSpPr>
          <p:nvPr>
            <p:ph type="body" sz="quarter" idx="11" hasCustomPrompt="1"/>
          </p:nvPr>
        </p:nvSpPr>
        <p:spPr>
          <a:xfrm>
            <a:off x="3269117" y="2781300"/>
            <a:ext cx="2455863" cy="647700"/>
          </a:xfrm>
        </p:spPr>
        <p:txBody>
          <a:bodyPr/>
          <a:lstStyle>
            <a:lvl1pPr marL="0" indent="0">
              <a:buFontTx/>
              <a:buNone/>
              <a:defRPr/>
            </a:lvl1pPr>
            <a:lvl2pPr marL="239176" indent="0">
              <a:buFontTx/>
              <a:buNone/>
              <a:defRPr/>
            </a:lvl2pPr>
            <a:lvl3pPr marL="474121" indent="0">
              <a:buFontTx/>
              <a:buNone/>
              <a:defRPr/>
            </a:lvl3pPr>
            <a:lvl4pPr marL="601119" indent="0">
              <a:buFontTx/>
              <a:buNone/>
              <a:defRPr/>
            </a:lvl4pPr>
            <a:lvl5pPr marL="719649" indent="0">
              <a:buFontTx/>
              <a:buNone/>
              <a:defRPr/>
            </a:lvl5pPr>
          </a:lstStyle>
          <a:p>
            <a:pPr lvl="0"/>
            <a:r>
              <a:rPr lang="en-US" err="1"/>
              <a:t>Muokkaa</a:t>
            </a:r>
            <a:r>
              <a:rPr lang="en-US"/>
              <a:t> </a:t>
            </a:r>
            <a:r>
              <a:rPr lang="en-US" err="1"/>
              <a:t>tekstiä</a:t>
            </a:r>
            <a:endParaRPr lang="en-US"/>
          </a:p>
        </p:txBody>
      </p:sp>
      <p:sp>
        <p:nvSpPr>
          <p:cNvPr id="17" name="Text Placeholder 2">
            <a:extLst>
              <a:ext uri="{FF2B5EF4-FFF2-40B4-BE49-F238E27FC236}">
                <a16:creationId xmlns:a16="http://schemas.microsoft.com/office/drawing/2014/main" id="{E2C0ED96-56D2-7D41-8A88-3825D2F0EB89}"/>
              </a:ext>
            </a:extLst>
          </p:cNvPr>
          <p:cNvSpPr>
            <a:spLocks noGrp="1"/>
          </p:cNvSpPr>
          <p:nvPr>
            <p:ph type="body" sz="quarter" idx="12" hasCustomPrompt="1"/>
          </p:nvPr>
        </p:nvSpPr>
        <p:spPr>
          <a:xfrm>
            <a:off x="3075084" y="3612186"/>
            <a:ext cx="2455863" cy="647700"/>
          </a:xfrm>
        </p:spPr>
        <p:txBody>
          <a:bodyPr/>
          <a:lstStyle>
            <a:lvl1pPr marL="0" indent="0">
              <a:buFontTx/>
              <a:buNone/>
              <a:defRPr/>
            </a:lvl1pPr>
            <a:lvl2pPr marL="239176" indent="0">
              <a:buFontTx/>
              <a:buNone/>
              <a:defRPr/>
            </a:lvl2pPr>
            <a:lvl3pPr marL="474121" indent="0">
              <a:buFontTx/>
              <a:buNone/>
              <a:defRPr/>
            </a:lvl3pPr>
            <a:lvl4pPr marL="601119" indent="0">
              <a:buFontTx/>
              <a:buNone/>
              <a:defRPr/>
            </a:lvl4pPr>
            <a:lvl5pPr marL="719649" indent="0">
              <a:buFontTx/>
              <a:buNone/>
              <a:defRPr/>
            </a:lvl5pPr>
          </a:lstStyle>
          <a:p>
            <a:pPr lvl="0"/>
            <a:r>
              <a:rPr lang="en-US" err="1"/>
              <a:t>Muokkaa</a:t>
            </a:r>
            <a:r>
              <a:rPr lang="en-US"/>
              <a:t> </a:t>
            </a:r>
            <a:r>
              <a:rPr lang="en-US" err="1"/>
              <a:t>tekstiä</a:t>
            </a:r>
            <a:endParaRPr lang="en-US"/>
          </a:p>
        </p:txBody>
      </p:sp>
      <p:sp>
        <p:nvSpPr>
          <p:cNvPr id="18" name="Text Placeholder 2">
            <a:extLst>
              <a:ext uri="{FF2B5EF4-FFF2-40B4-BE49-F238E27FC236}">
                <a16:creationId xmlns:a16="http://schemas.microsoft.com/office/drawing/2014/main" id="{7F22935A-6688-0A4E-BB78-17730553B618}"/>
              </a:ext>
            </a:extLst>
          </p:cNvPr>
          <p:cNvSpPr>
            <a:spLocks noGrp="1"/>
          </p:cNvSpPr>
          <p:nvPr>
            <p:ph type="body" sz="quarter" idx="13" hasCustomPrompt="1"/>
          </p:nvPr>
        </p:nvSpPr>
        <p:spPr>
          <a:xfrm>
            <a:off x="2873412" y="4472611"/>
            <a:ext cx="2455863" cy="647700"/>
          </a:xfrm>
        </p:spPr>
        <p:txBody>
          <a:bodyPr/>
          <a:lstStyle>
            <a:lvl1pPr marL="0" indent="0">
              <a:buFontTx/>
              <a:buNone/>
              <a:defRPr/>
            </a:lvl1pPr>
            <a:lvl2pPr marL="239176" indent="0">
              <a:buFontTx/>
              <a:buNone/>
              <a:defRPr/>
            </a:lvl2pPr>
            <a:lvl3pPr marL="474121" indent="0">
              <a:buFontTx/>
              <a:buNone/>
              <a:defRPr/>
            </a:lvl3pPr>
            <a:lvl4pPr marL="601119" indent="0">
              <a:buFontTx/>
              <a:buNone/>
              <a:defRPr/>
            </a:lvl4pPr>
            <a:lvl5pPr marL="719649" indent="0">
              <a:buFontTx/>
              <a:buNone/>
              <a:defRPr/>
            </a:lvl5pPr>
          </a:lstStyle>
          <a:p>
            <a:pPr lvl="0"/>
            <a:r>
              <a:rPr lang="en-US" err="1"/>
              <a:t>Muokkaa</a:t>
            </a:r>
            <a:r>
              <a:rPr lang="en-US"/>
              <a:t> </a:t>
            </a:r>
            <a:r>
              <a:rPr lang="en-US" err="1"/>
              <a:t>tekstiä</a:t>
            </a:r>
            <a:endParaRPr lang="en-US"/>
          </a:p>
        </p:txBody>
      </p:sp>
      <p:sp>
        <p:nvSpPr>
          <p:cNvPr id="19" name="Text Placeholder 2">
            <a:extLst>
              <a:ext uri="{FF2B5EF4-FFF2-40B4-BE49-F238E27FC236}">
                <a16:creationId xmlns:a16="http://schemas.microsoft.com/office/drawing/2014/main" id="{1370181A-A4B6-BF41-BB52-625D0B9D4970}"/>
              </a:ext>
            </a:extLst>
          </p:cNvPr>
          <p:cNvSpPr>
            <a:spLocks noGrp="1"/>
          </p:cNvSpPr>
          <p:nvPr>
            <p:ph type="body" sz="quarter" idx="14" hasCustomPrompt="1"/>
          </p:nvPr>
        </p:nvSpPr>
        <p:spPr>
          <a:xfrm>
            <a:off x="2669344" y="5333036"/>
            <a:ext cx="2455863" cy="647700"/>
          </a:xfrm>
        </p:spPr>
        <p:txBody>
          <a:bodyPr/>
          <a:lstStyle>
            <a:lvl1pPr marL="0" indent="0">
              <a:buFontTx/>
              <a:buNone/>
              <a:defRPr/>
            </a:lvl1pPr>
            <a:lvl2pPr marL="239176" indent="0">
              <a:buFontTx/>
              <a:buNone/>
              <a:defRPr/>
            </a:lvl2pPr>
            <a:lvl3pPr marL="474121" indent="0">
              <a:buFontTx/>
              <a:buNone/>
              <a:defRPr/>
            </a:lvl3pPr>
            <a:lvl4pPr marL="601119" indent="0">
              <a:buFontTx/>
              <a:buNone/>
              <a:defRPr/>
            </a:lvl4pPr>
            <a:lvl5pPr marL="719649" indent="0">
              <a:buFontTx/>
              <a:buNone/>
              <a:defRPr/>
            </a:lvl5pPr>
          </a:lstStyle>
          <a:p>
            <a:pPr lvl="0"/>
            <a:r>
              <a:rPr lang="en-US" err="1"/>
              <a:t>Muokkaa</a:t>
            </a:r>
            <a:r>
              <a:rPr lang="en-US"/>
              <a:t> </a:t>
            </a:r>
            <a:r>
              <a:rPr lang="en-US" err="1"/>
              <a:t>tekstiä</a:t>
            </a:r>
            <a:endParaRPr lang="en-US"/>
          </a:p>
        </p:txBody>
      </p:sp>
      <p:sp>
        <p:nvSpPr>
          <p:cNvPr id="20" name="Text Placeholder 2">
            <a:extLst>
              <a:ext uri="{FF2B5EF4-FFF2-40B4-BE49-F238E27FC236}">
                <a16:creationId xmlns:a16="http://schemas.microsoft.com/office/drawing/2014/main" id="{CE90BEED-9E6E-804A-98A9-C19871B82500}"/>
              </a:ext>
            </a:extLst>
          </p:cNvPr>
          <p:cNvSpPr>
            <a:spLocks noGrp="1"/>
          </p:cNvSpPr>
          <p:nvPr>
            <p:ph type="body" sz="quarter" idx="15" hasCustomPrompt="1"/>
          </p:nvPr>
        </p:nvSpPr>
        <p:spPr>
          <a:xfrm>
            <a:off x="8073895" y="1920875"/>
            <a:ext cx="2455863" cy="647700"/>
          </a:xfrm>
        </p:spPr>
        <p:txBody>
          <a:bodyPr/>
          <a:lstStyle>
            <a:lvl1pPr marL="0" indent="0">
              <a:buFontTx/>
              <a:buNone/>
              <a:defRPr/>
            </a:lvl1pPr>
            <a:lvl2pPr marL="239176" indent="0">
              <a:buFontTx/>
              <a:buNone/>
              <a:defRPr/>
            </a:lvl2pPr>
            <a:lvl3pPr marL="474121" indent="0">
              <a:buFontTx/>
              <a:buNone/>
              <a:defRPr/>
            </a:lvl3pPr>
            <a:lvl4pPr marL="601119" indent="0">
              <a:buFontTx/>
              <a:buNone/>
              <a:defRPr/>
            </a:lvl4pPr>
            <a:lvl5pPr marL="719649" indent="0">
              <a:buFontTx/>
              <a:buNone/>
              <a:defRPr/>
            </a:lvl5pPr>
          </a:lstStyle>
          <a:p>
            <a:pPr lvl="0"/>
            <a:r>
              <a:rPr lang="en-US" err="1"/>
              <a:t>Muokkaa</a:t>
            </a:r>
            <a:r>
              <a:rPr lang="en-US"/>
              <a:t> </a:t>
            </a:r>
            <a:r>
              <a:rPr lang="en-US" err="1"/>
              <a:t>tekstiä</a:t>
            </a:r>
            <a:endParaRPr lang="en-US"/>
          </a:p>
        </p:txBody>
      </p:sp>
      <p:sp>
        <p:nvSpPr>
          <p:cNvPr id="21" name="Text Placeholder 2">
            <a:extLst>
              <a:ext uri="{FF2B5EF4-FFF2-40B4-BE49-F238E27FC236}">
                <a16:creationId xmlns:a16="http://schemas.microsoft.com/office/drawing/2014/main" id="{37918F7F-F968-794F-A343-0304A481A960}"/>
              </a:ext>
            </a:extLst>
          </p:cNvPr>
          <p:cNvSpPr>
            <a:spLocks noGrp="1"/>
          </p:cNvSpPr>
          <p:nvPr>
            <p:ph type="body" sz="quarter" idx="16" hasCustomPrompt="1"/>
          </p:nvPr>
        </p:nvSpPr>
        <p:spPr>
          <a:xfrm>
            <a:off x="7917187" y="2781300"/>
            <a:ext cx="2455863" cy="647700"/>
          </a:xfrm>
        </p:spPr>
        <p:txBody>
          <a:bodyPr/>
          <a:lstStyle>
            <a:lvl1pPr marL="0" indent="0">
              <a:buFontTx/>
              <a:buNone/>
              <a:defRPr/>
            </a:lvl1pPr>
            <a:lvl2pPr marL="239176" indent="0">
              <a:buFontTx/>
              <a:buNone/>
              <a:defRPr/>
            </a:lvl2pPr>
            <a:lvl3pPr marL="474121" indent="0">
              <a:buFontTx/>
              <a:buNone/>
              <a:defRPr/>
            </a:lvl3pPr>
            <a:lvl4pPr marL="601119" indent="0">
              <a:buFontTx/>
              <a:buNone/>
              <a:defRPr/>
            </a:lvl4pPr>
            <a:lvl5pPr marL="719649" indent="0">
              <a:buFontTx/>
              <a:buNone/>
              <a:defRPr/>
            </a:lvl5pPr>
          </a:lstStyle>
          <a:p>
            <a:pPr lvl="0"/>
            <a:r>
              <a:rPr lang="en-US" err="1"/>
              <a:t>Muokkaa</a:t>
            </a:r>
            <a:r>
              <a:rPr lang="en-US"/>
              <a:t> </a:t>
            </a:r>
            <a:r>
              <a:rPr lang="en-US" err="1"/>
              <a:t>tekstiä</a:t>
            </a:r>
            <a:endParaRPr lang="en-US"/>
          </a:p>
        </p:txBody>
      </p:sp>
      <p:sp>
        <p:nvSpPr>
          <p:cNvPr id="22" name="Text Placeholder 2">
            <a:extLst>
              <a:ext uri="{FF2B5EF4-FFF2-40B4-BE49-F238E27FC236}">
                <a16:creationId xmlns:a16="http://schemas.microsoft.com/office/drawing/2014/main" id="{7B3080E5-E955-5745-9752-1177E9D4665A}"/>
              </a:ext>
            </a:extLst>
          </p:cNvPr>
          <p:cNvSpPr>
            <a:spLocks noGrp="1"/>
          </p:cNvSpPr>
          <p:nvPr>
            <p:ph type="body" sz="quarter" idx="17" hasCustomPrompt="1"/>
          </p:nvPr>
        </p:nvSpPr>
        <p:spPr>
          <a:xfrm>
            <a:off x="7723154" y="3612186"/>
            <a:ext cx="2455863" cy="647700"/>
          </a:xfrm>
        </p:spPr>
        <p:txBody>
          <a:bodyPr/>
          <a:lstStyle>
            <a:lvl1pPr marL="0" indent="0">
              <a:buFontTx/>
              <a:buNone/>
              <a:defRPr/>
            </a:lvl1pPr>
            <a:lvl2pPr marL="239176" indent="0">
              <a:buFontTx/>
              <a:buNone/>
              <a:defRPr/>
            </a:lvl2pPr>
            <a:lvl3pPr marL="474121" indent="0">
              <a:buFontTx/>
              <a:buNone/>
              <a:defRPr/>
            </a:lvl3pPr>
            <a:lvl4pPr marL="601119" indent="0">
              <a:buFontTx/>
              <a:buNone/>
              <a:defRPr/>
            </a:lvl4pPr>
            <a:lvl5pPr marL="719649" indent="0">
              <a:buFontTx/>
              <a:buNone/>
              <a:defRPr/>
            </a:lvl5pPr>
          </a:lstStyle>
          <a:p>
            <a:pPr lvl="0"/>
            <a:r>
              <a:rPr lang="en-US" err="1"/>
              <a:t>Muokkaa</a:t>
            </a:r>
            <a:r>
              <a:rPr lang="en-US"/>
              <a:t> </a:t>
            </a:r>
            <a:r>
              <a:rPr lang="en-US" err="1"/>
              <a:t>tekstiä</a:t>
            </a:r>
            <a:endParaRPr lang="en-US"/>
          </a:p>
        </p:txBody>
      </p:sp>
      <p:sp>
        <p:nvSpPr>
          <p:cNvPr id="23" name="Text Placeholder 2">
            <a:extLst>
              <a:ext uri="{FF2B5EF4-FFF2-40B4-BE49-F238E27FC236}">
                <a16:creationId xmlns:a16="http://schemas.microsoft.com/office/drawing/2014/main" id="{58395048-D872-7044-9641-B140A4579AD4}"/>
              </a:ext>
            </a:extLst>
          </p:cNvPr>
          <p:cNvSpPr>
            <a:spLocks noGrp="1"/>
          </p:cNvSpPr>
          <p:nvPr>
            <p:ph type="body" sz="quarter" idx="18" hasCustomPrompt="1"/>
          </p:nvPr>
        </p:nvSpPr>
        <p:spPr>
          <a:xfrm>
            <a:off x="7521482" y="4472611"/>
            <a:ext cx="2455863" cy="647700"/>
          </a:xfrm>
        </p:spPr>
        <p:txBody>
          <a:bodyPr/>
          <a:lstStyle>
            <a:lvl1pPr marL="0" indent="0">
              <a:buFontTx/>
              <a:buNone/>
              <a:defRPr/>
            </a:lvl1pPr>
            <a:lvl2pPr marL="239176" indent="0">
              <a:buFontTx/>
              <a:buNone/>
              <a:defRPr/>
            </a:lvl2pPr>
            <a:lvl3pPr marL="474121" indent="0">
              <a:buFontTx/>
              <a:buNone/>
              <a:defRPr/>
            </a:lvl3pPr>
            <a:lvl4pPr marL="601119" indent="0">
              <a:buFontTx/>
              <a:buNone/>
              <a:defRPr/>
            </a:lvl4pPr>
            <a:lvl5pPr marL="719649" indent="0">
              <a:buFontTx/>
              <a:buNone/>
              <a:defRPr/>
            </a:lvl5pPr>
          </a:lstStyle>
          <a:p>
            <a:pPr lvl="0"/>
            <a:r>
              <a:rPr lang="en-US" err="1"/>
              <a:t>Muokkaa</a:t>
            </a:r>
            <a:r>
              <a:rPr lang="en-US"/>
              <a:t> </a:t>
            </a:r>
            <a:r>
              <a:rPr lang="en-US" err="1"/>
              <a:t>tekstiä</a:t>
            </a:r>
            <a:endParaRPr lang="en-US"/>
          </a:p>
        </p:txBody>
      </p:sp>
      <p:sp>
        <p:nvSpPr>
          <p:cNvPr id="24" name="Text Placeholder 2">
            <a:extLst>
              <a:ext uri="{FF2B5EF4-FFF2-40B4-BE49-F238E27FC236}">
                <a16:creationId xmlns:a16="http://schemas.microsoft.com/office/drawing/2014/main" id="{850EF3ED-316B-3F47-8C89-16450B190B96}"/>
              </a:ext>
            </a:extLst>
          </p:cNvPr>
          <p:cNvSpPr>
            <a:spLocks noGrp="1"/>
          </p:cNvSpPr>
          <p:nvPr>
            <p:ph type="body" sz="quarter" idx="19" hasCustomPrompt="1"/>
          </p:nvPr>
        </p:nvSpPr>
        <p:spPr>
          <a:xfrm>
            <a:off x="7317414" y="5333036"/>
            <a:ext cx="2455863" cy="647700"/>
          </a:xfrm>
        </p:spPr>
        <p:txBody>
          <a:bodyPr/>
          <a:lstStyle>
            <a:lvl1pPr marL="0" indent="0">
              <a:buFontTx/>
              <a:buNone/>
              <a:defRPr/>
            </a:lvl1pPr>
            <a:lvl2pPr marL="239176" indent="0">
              <a:buFontTx/>
              <a:buNone/>
              <a:defRPr/>
            </a:lvl2pPr>
            <a:lvl3pPr marL="474121" indent="0">
              <a:buFontTx/>
              <a:buNone/>
              <a:defRPr/>
            </a:lvl3pPr>
            <a:lvl4pPr marL="601119" indent="0">
              <a:buFontTx/>
              <a:buNone/>
              <a:defRPr/>
            </a:lvl4pPr>
            <a:lvl5pPr marL="719649" indent="0">
              <a:buFontTx/>
              <a:buNone/>
              <a:defRPr/>
            </a:lvl5pPr>
          </a:lstStyle>
          <a:p>
            <a:pPr lvl="0"/>
            <a:r>
              <a:rPr lang="en-US" err="1"/>
              <a:t>Muokkaa</a:t>
            </a:r>
            <a:r>
              <a:rPr lang="en-US"/>
              <a:t> </a:t>
            </a:r>
            <a:r>
              <a:rPr lang="en-US" err="1"/>
              <a:t>tekstiä</a:t>
            </a:r>
            <a:endParaRPr lang="en-US"/>
          </a:p>
        </p:txBody>
      </p:sp>
      <p:sp>
        <p:nvSpPr>
          <p:cNvPr id="2" name="Title 1">
            <a:extLst>
              <a:ext uri="{FF2B5EF4-FFF2-40B4-BE49-F238E27FC236}">
                <a16:creationId xmlns:a16="http://schemas.microsoft.com/office/drawing/2014/main" id="{370732D4-8CAA-8D47-B26B-209A6806A05F}"/>
              </a:ext>
            </a:extLst>
          </p:cNvPr>
          <p:cNvSpPr>
            <a:spLocks noGrp="1"/>
          </p:cNvSpPr>
          <p:nvPr>
            <p:ph type="title" hasCustomPrompt="1"/>
          </p:nvPr>
        </p:nvSpPr>
        <p:spPr/>
        <p:txBody>
          <a:bodyPr/>
          <a:lstStyle>
            <a:lvl1pPr>
              <a:defRPr>
                <a:solidFill>
                  <a:schemeClr val="accent1"/>
                </a:solidFill>
              </a:defRPr>
            </a:lvl1pPr>
          </a:lstStyle>
          <a:p>
            <a:r>
              <a:rPr lang="en-US"/>
              <a:t>MUOKKAA TEKSTIÄ</a:t>
            </a:r>
            <a:endParaRPr lang="fi-FI"/>
          </a:p>
        </p:txBody>
      </p:sp>
      <p:pic>
        <p:nvPicPr>
          <p:cNvPr id="27" name="Kuva 26" descr="Kuva, joka sisältää kohteen teksti, kello&#10;&#10;Kuvaus luotu automaattisesti">
            <a:extLst>
              <a:ext uri="{FF2B5EF4-FFF2-40B4-BE49-F238E27FC236}">
                <a16:creationId xmlns:a16="http://schemas.microsoft.com/office/drawing/2014/main" id="{95EB325C-D57B-4AC0-A732-6E3C497956AE}"/>
              </a:ext>
            </a:extLst>
          </p:cNvPr>
          <p:cNvPicPr>
            <a:picLocks noChangeAspect="1"/>
          </p:cNvPicPr>
          <p:nvPr userDrawn="1"/>
        </p:nvPicPr>
        <p:blipFill>
          <a:blip r:embed="rId2"/>
          <a:stretch>
            <a:fillRect/>
          </a:stretch>
        </p:blipFill>
        <p:spPr>
          <a:xfrm>
            <a:off x="10089751" y="6139935"/>
            <a:ext cx="1782003" cy="457339"/>
          </a:xfrm>
          <a:prstGeom prst="rect">
            <a:avLst/>
          </a:prstGeom>
        </p:spPr>
      </p:pic>
    </p:spTree>
    <p:extLst>
      <p:ext uri="{BB962C8B-B14F-4D97-AF65-F5344CB8AC3E}">
        <p14:creationId xmlns:p14="http://schemas.microsoft.com/office/powerpoint/2010/main" val="572229519"/>
      </p:ext>
    </p:extLst>
  </p:cSld>
  <p:clrMapOvr>
    <a:masterClrMapping/>
  </p:clrMapOvr>
  <p:transition spd="slow"/>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Kiitos">
    <p:spTree>
      <p:nvGrpSpPr>
        <p:cNvPr id="1" name=""/>
        <p:cNvGrpSpPr/>
        <p:nvPr/>
      </p:nvGrpSpPr>
      <p:grpSpPr>
        <a:xfrm>
          <a:off x="0" y="0"/>
          <a:ext cx="0" cy="0"/>
          <a:chOff x="0" y="0"/>
          <a:chExt cx="0" cy="0"/>
        </a:xfrm>
      </p:grpSpPr>
      <p:sp>
        <p:nvSpPr>
          <p:cNvPr id="32" name="Picture Placeholder 1">
            <a:extLst>
              <a:ext uri="{FF2B5EF4-FFF2-40B4-BE49-F238E27FC236}">
                <a16:creationId xmlns:a16="http://schemas.microsoft.com/office/drawing/2014/main" id="{F6013CC6-481F-564D-A236-0926657B01A1}"/>
              </a:ext>
            </a:extLst>
          </p:cNvPr>
          <p:cNvSpPr>
            <a:spLocks noGrp="1"/>
          </p:cNvSpPr>
          <p:nvPr>
            <p:ph type="pic" sz="quarter" idx="10" hasCustomPrompt="1"/>
          </p:nvPr>
        </p:nvSpPr>
        <p:spPr>
          <a:xfrm>
            <a:off x="0" y="0"/>
            <a:ext cx="12192000" cy="6858000"/>
          </a:xfrm>
        </p:spPr>
        <p:txBody>
          <a:bodyPr/>
          <a:lstStyle/>
          <a:p>
            <a:r>
              <a:rPr lang="fi-FI"/>
              <a:t>Lisää kuva</a:t>
            </a:r>
          </a:p>
        </p:txBody>
      </p:sp>
      <p:sp>
        <p:nvSpPr>
          <p:cNvPr id="2" name="Rectangle 1">
            <a:extLst>
              <a:ext uri="{FF2B5EF4-FFF2-40B4-BE49-F238E27FC236}">
                <a16:creationId xmlns:a16="http://schemas.microsoft.com/office/drawing/2014/main" id="{86A1E123-6239-D24E-BEBC-B9164EFA037D}"/>
              </a:ext>
            </a:extLst>
          </p:cNvPr>
          <p:cNvSpPr/>
          <p:nvPr userDrawn="1"/>
        </p:nvSpPr>
        <p:spPr>
          <a:xfrm>
            <a:off x="9569003" y="5898525"/>
            <a:ext cx="2253803" cy="6181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err="1">
              <a:solidFill>
                <a:schemeClr val="bg1"/>
              </a:solidFill>
              <a:latin typeface="Open Sans" panose="020B0606030504020204" pitchFamily="34" charset="0"/>
              <a:ea typeface="Muli" charset="0"/>
              <a:cs typeface="Muli" charset="0"/>
            </a:endParaRPr>
          </a:p>
        </p:txBody>
      </p:sp>
      <p:sp>
        <p:nvSpPr>
          <p:cNvPr id="30" name="Rectangle 29">
            <a:extLst>
              <a:ext uri="{FF2B5EF4-FFF2-40B4-BE49-F238E27FC236}">
                <a16:creationId xmlns:a16="http://schemas.microsoft.com/office/drawing/2014/main" id="{C5F0DDF8-91FA-604E-81D9-590AE473933B}"/>
              </a:ext>
            </a:extLst>
          </p:cNvPr>
          <p:cNvSpPr/>
          <p:nvPr userDrawn="1"/>
        </p:nvSpPr>
        <p:spPr>
          <a:xfrm>
            <a:off x="0" y="1976235"/>
            <a:ext cx="12192000" cy="290552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b="0" i="0">
              <a:solidFill>
                <a:schemeClr val="bg1"/>
              </a:solidFill>
              <a:latin typeface="Open Sans" panose="020B0606030504020204" pitchFamily="34" charset="0"/>
              <a:ea typeface="Muli" charset="0"/>
              <a:cs typeface="Muli" charset="0"/>
            </a:endParaRPr>
          </a:p>
        </p:txBody>
      </p:sp>
      <p:sp>
        <p:nvSpPr>
          <p:cNvPr id="20" name="Text Placeholder 8">
            <a:extLst>
              <a:ext uri="{FF2B5EF4-FFF2-40B4-BE49-F238E27FC236}">
                <a16:creationId xmlns:a16="http://schemas.microsoft.com/office/drawing/2014/main" id="{F901177A-6F9D-D34F-83D2-8E80EEAB7191}"/>
              </a:ext>
            </a:extLst>
          </p:cNvPr>
          <p:cNvSpPr>
            <a:spLocks noGrp="1"/>
          </p:cNvSpPr>
          <p:nvPr>
            <p:ph type="body" sz="quarter" idx="11" hasCustomPrompt="1"/>
          </p:nvPr>
        </p:nvSpPr>
        <p:spPr>
          <a:xfrm>
            <a:off x="2695376" y="2691886"/>
            <a:ext cx="6801247" cy="1153074"/>
          </a:xfrm>
        </p:spPr>
        <p:txBody>
          <a:bodyPr>
            <a:normAutofit/>
          </a:bodyPr>
          <a:lstStyle>
            <a:lvl1pPr marL="0" indent="0" algn="ctr">
              <a:buFontTx/>
              <a:buNone/>
              <a:defRPr sz="6000" b="1"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marL="239176" indent="0">
              <a:buFontTx/>
              <a:buNone/>
              <a:defRPr/>
            </a:lvl2pPr>
            <a:lvl3pPr marL="474121" indent="0">
              <a:buFontTx/>
              <a:buNone/>
              <a:defRPr/>
            </a:lvl3pPr>
            <a:lvl4pPr marL="601119" indent="0">
              <a:buFontTx/>
              <a:buNone/>
              <a:defRPr/>
            </a:lvl4pPr>
            <a:lvl5pPr marL="719649" indent="0">
              <a:buFontTx/>
              <a:buNone/>
              <a:defRPr/>
            </a:lvl5pPr>
          </a:lstStyle>
          <a:p>
            <a:pPr lvl="0"/>
            <a:r>
              <a:rPr lang="en-US"/>
              <a:t>KIITOS!</a:t>
            </a:r>
          </a:p>
        </p:txBody>
      </p:sp>
      <p:pic>
        <p:nvPicPr>
          <p:cNvPr id="21" name="Kuva 20" descr="Kuva, joka sisältää kohteen teksti, clipart-kuva&#10;&#10;Kuvaus luotu automaattisesti">
            <a:extLst>
              <a:ext uri="{FF2B5EF4-FFF2-40B4-BE49-F238E27FC236}">
                <a16:creationId xmlns:a16="http://schemas.microsoft.com/office/drawing/2014/main" id="{601C127A-BE2F-46B0-A4EE-76116C2AAF57}"/>
              </a:ext>
            </a:extLst>
          </p:cNvPr>
          <p:cNvPicPr>
            <a:picLocks noChangeAspect="1"/>
          </p:cNvPicPr>
          <p:nvPr userDrawn="1"/>
        </p:nvPicPr>
        <p:blipFill>
          <a:blip r:embed="rId2"/>
          <a:stretch>
            <a:fillRect/>
          </a:stretch>
        </p:blipFill>
        <p:spPr>
          <a:xfrm>
            <a:off x="5367527" y="4292066"/>
            <a:ext cx="1456944" cy="373915"/>
          </a:xfrm>
          <a:prstGeom prst="rect">
            <a:avLst/>
          </a:prstGeom>
        </p:spPr>
      </p:pic>
    </p:spTree>
    <p:extLst>
      <p:ext uri="{BB962C8B-B14F-4D97-AF65-F5344CB8AC3E}">
        <p14:creationId xmlns:p14="http://schemas.microsoft.com/office/powerpoint/2010/main" val="2300994082"/>
      </p:ext>
    </p:extLst>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image" Target="../media/image5.png"/><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theme" Target="../theme/theme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8"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9" Type="http://schemas.openxmlformats.org/officeDocument/2006/relationships/slideLayout" Target="../slideLayouts/slideLayout91.xml"/><Relationship Id="rId21" Type="http://schemas.openxmlformats.org/officeDocument/2006/relationships/slideLayout" Target="../slideLayouts/slideLayout73.xml"/><Relationship Id="rId34" Type="http://schemas.openxmlformats.org/officeDocument/2006/relationships/slideLayout" Target="../slideLayouts/slideLayout86.xml"/><Relationship Id="rId42" Type="http://schemas.openxmlformats.org/officeDocument/2006/relationships/slideLayout" Target="../slideLayouts/slideLayout94.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41" Type="http://schemas.openxmlformats.org/officeDocument/2006/relationships/slideLayout" Target="../slideLayouts/slideLayout93.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4" Type="http://schemas.openxmlformats.org/officeDocument/2006/relationships/image" Target="../media/image7.pn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theme" Target="../theme/theme3.xml"/><Relationship Id="rId8" Type="http://schemas.openxmlformats.org/officeDocument/2006/relationships/slideLayout" Target="../slideLayouts/slideLayout60.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54AAE13-9FD4-441D-9F47-15F2AF4098D7}"/>
              </a:ext>
            </a:extLst>
          </p:cNvPr>
          <p:cNvGraphicFramePr>
            <a:graphicFrameLocks noChangeAspect="1"/>
          </p:cNvGraphicFramePr>
          <p:nvPr userDrawn="1">
            <p:custDataLst>
              <p:tags r:id="rId24"/>
            </p:custDataLst>
            <p:extLst>
              <p:ext uri="{D42A27DB-BD31-4B8C-83A1-F6EECF244321}">
                <p14:modId xmlns:p14="http://schemas.microsoft.com/office/powerpoint/2010/main" val="4274527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5" imgW="347" imgH="348" progId="TCLayout.ActiveDocument.1">
                  <p:embed/>
                </p:oleObj>
              </mc:Choice>
              <mc:Fallback>
                <p:oleObj name="think-cell Slide" r:id="rId25" imgW="347" imgH="348" progId="TCLayout.ActiveDocument.1">
                  <p:embed/>
                  <p:pic>
                    <p:nvPicPr>
                      <p:cNvPr id="8" name="Object 7" hidden="1">
                        <a:extLst>
                          <a:ext uri="{FF2B5EF4-FFF2-40B4-BE49-F238E27FC236}">
                            <a16:creationId xmlns:a16="http://schemas.microsoft.com/office/drawing/2014/main" id="{F54AAE13-9FD4-441D-9F47-15F2AF4098D7}"/>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Platshållare för rubrik 1"/>
          <p:cNvSpPr>
            <a:spLocks noGrp="1"/>
          </p:cNvSpPr>
          <p:nvPr>
            <p:ph type="title"/>
          </p:nvPr>
        </p:nvSpPr>
        <p:spPr>
          <a:xfrm>
            <a:off x="803275" y="756946"/>
            <a:ext cx="11124701" cy="887413"/>
          </a:xfrm>
          <a:prstGeom prst="rect">
            <a:avLst/>
          </a:prstGeom>
        </p:spPr>
        <p:txBody>
          <a:bodyPr vert="horz" lIns="0" tIns="0" rIns="0" bIns="0" rtlCol="0" anchor="b">
            <a:normAutofit/>
          </a:bodyPr>
          <a:lstStyle/>
          <a:p>
            <a:r>
              <a:rPr lang="en-GB" err="1"/>
              <a:t>Klicka</a:t>
            </a:r>
            <a:r>
              <a:rPr lang="en-GB"/>
              <a:t> </a:t>
            </a:r>
            <a:r>
              <a:rPr lang="en-GB" err="1"/>
              <a:t>här</a:t>
            </a:r>
            <a:r>
              <a:rPr lang="en-GB"/>
              <a:t> </a:t>
            </a:r>
            <a:r>
              <a:rPr lang="en-GB" err="1"/>
              <a:t>för</a:t>
            </a:r>
            <a:r>
              <a:rPr lang="en-GB"/>
              <a:t> </a:t>
            </a:r>
            <a:r>
              <a:rPr lang="en-GB" err="1"/>
              <a:t>att</a:t>
            </a:r>
            <a:r>
              <a:rPr lang="en-GB"/>
              <a:t> </a:t>
            </a:r>
            <a:r>
              <a:rPr lang="en-GB" err="1"/>
              <a:t>ändra</a:t>
            </a:r>
            <a:r>
              <a:rPr lang="en-GB"/>
              <a:t> format</a:t>
            </a:r>
          </a:p>
        </p:txBody>
      </p:sp>
      <p:sp>
        <p:nvSpPr>
          <p:cNvPr id="3" name="Platshållare för text 2"/>
          <p:cNvSpPr>
            <a:spLocks noGrp="1"/>
          </p:cNvSpPr>
          <p:nvPr>
            <p:ph type="body" idx="1"/>
          </p:nvPr>
        </p:nvSpPr>
        <p:spPr>
          <a:xfrm>
            <a:off x="803275" y="2059818"/>
            <a:ext cx="11124701" cy="4307418"/>
          </a:xfrm>
          <a:prstGeom prst="rect">
            <a:avLst/>
          </a:prstGeom>
        </p:spPr>
        <p:txBody>
          <a:bodyPr vert="horz" lIns="0" tIns="0" rIns="0" bIns="0" rtlCol="0">
            <a:normAutofit/>
          </a:bodyPr>
          <a:lstStyle/>
          <a:p>
            <a:pPr lvl="0"/>
            <a:r>
              <a:rPr lang="en-GB" err="1"/>
              <a:t>Klicka</a:t>
            </a:r>
            <a:r>
              <a:rPr lang="en-GB"/>
              <a:t> </a:t>
            </a:r>
            <a:r>
              <a:rPr lang="en-GB" err="1"/>
              <a:t>här</a:t>
            </a:r>
            <a:r>
              <a:rPr lang="en-GB"/>
              <a:t> </a:t>
            </a:r>
            <a:r>
              <a:rPr lang="en-GB" err="1"/>
              <a:t>för</a:t>
            </a:r>
            <a:r>
              <a:rPr lang="en-GB"/>
              <a:t> </a:t>
            </a:r>
            <a:r>
              <a:rPr lang="en-GB" err="1"/>
              <a:t>att</a:t>
            </a:r>
            <a:r>
              <a:rPr lang="en-GB"/>
              <a:t> </a:t>
            </a:r>
            <a:r>
              <a:rPr lang="en-GB" err="1"/>
              <a:t>ändra</a:t>
            </a:r>
            <a:r>
              <a:rPr lang="en-GB"/>
              <a:t> format </a:t>
            </a:r>
            <a:r>
              <a:rPr lang="en-GB" err="1"/>
              <a:t>på</a:t>
            </a:r>
            <a:r>
              <a:rPr lang="en-GB"/>
              <a:t> </a:t>
            </a:r>
            <a:r>
              <a:rPr lang="en-GB" err="1"/>
              <a:t>bakgrundstexten</a:t>
            </a:r>
            <a:endParaRPr lang="en-GB"/>
          </a:p>
          <a:p>
            <a:pPr lvl="1"/>
            <a:r>
              <a:rPr lang="en-GB" err="1"/>
              <a:t>Nivå</a:t>
            </a:r>
            <a:r>
              <a:rPr lang="en-GB"/>
              <a:t> </a:t>
            </a:r>
            <a:r>
              <a:rPr lang="en-GB" err="1"/>
              <a:t>två</a:t>
            </a:r>
            <a:endParaRPr lang="en-GB"/>
          </a:p>
          <a:p>
            <a:pPr lvl="2"/>
            <a:r>
              <a:rPr lang="en-GB" err="1"/>
              <a:t>Nivå</a:t>
            </a:r>
            <a:r>
              <a:rPr lang="en-GB"/>
              <a:t> </a:t>
            </a:r>
            <a:r>
              <a:rPr lang="en-GB" err="1"/>
              <a:t>tre</a:t>
            </a:r>
            <a:endParaRPr lang="en-GB"/>
          </a:p>
          <a:p>
            <a:pPr lvl="3"/>
            <a:r>
              <a:rPr lang="en-GB" err="1"/>
              <a:t>Nivå</a:t>
            </a:r>
            <a:r>
              <a:rPr lang="en-GB"/>
              <a:t> </a:t>
            </a:r>
            <a:r>
              <a:rPr lang="en-GB" err="1"/>
              <a:t>fyra</a:t>
            </a:r>
            <a:endParaRPr lang="en-GB"/>
          </a:p>
          <a:p>
            <a:pPr lvl="4"/>
            <a:r>
              <a:rPr lang="en-GB" err="1"/>
              <a:t>Nivå</a:t>
            </a:r>
            <a:r>
              <a:rPr lang="en-GB"/>
              <a:t> fem</a:t>
            </a:r>
          </a:p>
          <a:p>
            <a:pPr lvl="5"/>
            <a:r>
              <a:rPr lang="en-GB"/>
              <a:t>6</a:t>
            </a:r>
          </a:p>
          <a:p>
            <a:pPr lvl="6"/>
            <a:r>
              <a:rPr lang="en-GB"/>
              <a:t>7</a:t>
            </a:r>
          </a:p>
          <a:p>
            <a:pPr lvl="7"/>
            <a:r>
              <a:rPr lang="en-GB"/>
              <a:t>8</a:t>
            </a:r>
          </a:p>
          <a:p>
            <a:pPr lvl="8"/>
            <a:r>
              <a:rPr lang="en-GB"/>
              <a:t>9</a:t>
            </a:r>
          </a:p>
        </p:txBody>
      </p:sp>
      <p:sp>
        <p:nvSpPr>
          <p:cNvPr id="4" name="Platshållare för datum 3"/>
          <p:cNvSpPr>
            <a:spLocks noGrp="1"/>
          </p:cNvSpPr>
          <p:nvPr>
            <p:ph type="dt" sz="half" idx="2"/>
          </p:nvPr>
        </p:nvSpPr>
        <p:spPr>
          <a:xfrm>
            <a:off x="9184776" y="6562725"/>
            <a:ext cx="2743200" cy="107950"/>
          </a:xfrm>
          <a:prstGeom prst="rect">
            <a:avLst/>
          </a:prstGeom>
        </p:spPr>
        <p:txBody>
          <a:bodyPr vert="horz" lIns="0" tIns="0" rIns="0" bIns="0" rtlCol="0" anchor="b"/>
          <a:lstStyle>
            <a:lvl1pPr algn="r">
              <a:defRPr sz="600">
                <a:solidFill>
                  <a:schemeClr val="tx1"/>
                </a:solidFill>
              </a:defRPr>
            </a:lvl1pPr>
          </a:lstStyle>
          <a:p>
            <a:fld id="{0389CD89-0243-462B-8542-D1CC1279D327}" type="datetime1">
              <a:rPr lang="sv-SE" smtClean="0"/>
              <a:pPr/>
              <a:t>2022-04-29</a:t>
            </a:fld>
            <a:endParaRPr lang="en-GB"/>
          </a:p>
        </p:txBody>
      </p:sp>
      <p:sp>
        <p:nvSpPr>
          <p:cNvPr id="5" name="Platshållare för sidfot 4"/>
          <p:cNvSpPr>
            <a:spLocks noGrp="1"/>
          </p:cNvSpPr>
          <p:nvPr>
            <p:ph type="ftr" sz="quarter" idx="3"/>
          </p:nvPr>
        </p:nvSpPr>
        <p:spPr>
          <a:xfrm>
            <a:off x="809624" y="6400800"/>
            <a:ext cx="1924051" cy="241300"/>
          </a:xfrm>
          <a:prstGeom prst="rect">
            <a:avLst/>
          </a:prstGeom>
        </p:spPr>
        <p:txBody>
          <a:bodyPr vert="horz" lIns="0" tIns="0" rIns="0" bIns="0" rtlCol="0" anchor="b"/>
          <a:lstStyle>
            <a:lvl1pPr algn="l">
              <a:defRPr sz="600" cap="all" baseline="0">
                <a:solidFill>
                  <a:schemeClr val="tx1"/>
                </a:solidFill>
              </a:defRPr>
            </a:lvl1pPr>
          </a:lstStyle>
          <a:p>
            <a:r>
              <a:rPr lang="en-GB" err="1"/>
              <a:t>Gendiatur</a:t>
            </a:r>
            <a:r>
              <a:rPr lang="en-GB"/>
              <a:t>, que </a:t>
            </a:r>
            <a:r>
              <a:rPr lang="en-GB" err="1"/>
              <a:t>reiunt</a:t>
            </a:r>
            <a:r>
              <a:rPr lang="en-GB"/>
              <a:t> </a:t>
            </a:r>
            <a:r>
              <a:rPr lang="en-GB" err="1"/>
              <a:t>explabo</a:t>
            </a:r>
            <a:r>
              <a:rPr lang="en-GB"/>
              <a:t>.  </a:t>
            </a:r>
            <a:r>
              <a:rPr lang="en-GB" err="1"/>
              <a:t>Ut</a:t>
            </a:r>
            <a:r>
              <a:rPr lang="en-GB"/>
              <a:t> </a:t>
            </a:r>
            <a:r>
              <a:rPr lang="en-GB" err="1"/>
              <a:t>asinctiis</a:t>
            </a:r>
            <a:r>
              <a:rPr lang="en-GB"/>
              <a:t> de </a:t>
            </a:r>
            <a:r>
              <a:rPr lang="en-GB" err="1"/>
              <a:t>vollaccab</a:t>
            </a:r>
            <a:r>
              <a:rPr lang="en-GB"/>
              <a:t> </a:t>
            </a:r>
            <a:r>
              <a:rPr lang="en-GB" err="1"/>
              <a:t>isUnt</a:t>
            </a:r>
            <a:r>
              <a:rPr lang="en-GB"/>
              <a:t> et </a:t>
            </a:r>
            <a:r>
              <a:rPr lang="en-GB" err="1"/>
              <a:t>eos</a:t>
            </a:r>
            <a:r>
              <a:rPr lang="en-GB"/>
              <a:t> </a:t>
            </a:r>
            <a:r>
              <a:rPr lang="en-GB" err="1"/>
              <a:t>quatiandandi</a:t>
            </a:r>
            <a:r>
              <a:rPr lang="en-GB"/>
              <a:t> </a:t>
            </a:r>
            <a:r>
              <a:rPr lang="en-GB" err="1"/>
              <a:t>dellecu</a:t>
            </a:r>
            <a:r>
              <a:rPr lang="en-GB"/>
              <a:t> </a:t>
            </a:r>
            <a:r>
              <a:rPr lang="en-GB" err="1"/>
              <a:t>lluptiist</a:t>
            </a:r>
            <a:endParaRPr lang="en-GB"/>
          </a:p>
        </p:txBody>
      </p:sp>
      <p:sp>
        <p:nvSpPr>
          <p:cNvPr id="6" name="Platshållare för bildnummer 5"/>
          <p:cNvSpPr>
            <a:spLocks noGrp="1"/>
          </p:cNvSpPr>
          <p:nvPr>
            <p:ph type="sldNum" sz="quarter" idx="4"/>
          </p:nvPr>
        </p:nvSpPr>
        <p:spPr>
          <a:xfrm>
            <a:off x="9184776" y="6391276"/>
            <a:ext cx="2743200" cy="152400"/>
          </a:xfrm>
          <a:prstGeom prst="rect">
            <a:avLst/>
          </a:prstGeom>
        </p:spPr>
        <p:txBody>
          <a:bodyPr vert="horz" lIns="0" tIns="0" rIns="0" bIns="0" rtlCol="0" anchor="b"/>
          <a:lstStyle>
            <a:lvl1pPr algn="r">
              <a:defRPr sz="600">
                <a:solidFill>
                  <a:schemeClr val="tx1"/>
                </a:solidFill>
              </a:defRPr>
            </a:lvl1pPr>
          </a:lstStyle>
          <a:p>
            <a:fld id="{A3EAEDCA-98D4-4724-9772-C653855CA076}" type="slidenum">
              <a:rPr lang="en-GB" smtClean="0"/>
              <a:pPr/>
              <a:t>‹#›</a:t>
            </a:fld>
            <a:endParaRPr lang="en-GB"/>
          </a:p>
        </p:txBody>
      </p:sp>
      <p:pic>
        <p:nvPicPr>
          <p:cNvPr id="18" name="Bildobjekt 17"/>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0699330" y="264740"/>
            <a:ext cx="1229546" cy="372895"/>
          </a:xfrm>
          <a:prstGeom prst="rect">
            <a:avLst/>
          </a:prstGeom>
        </p:spPr>
      </p:pic>
    </p:spTree>
    <p:extLst>
      <p:ext uri="{BB962C8B-B14F-4D97-AF65-F5344CB8AC3E}">
        <p14:creationId xmlns:p14="http://schemas.microsoft.com/office/powerpoint/2010/main" val="182576787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Lst>
  <p:hf hdr="0"/>
  <p:txStyles>
    <p:titleStyle>
      <a:lvl1pPr algn="l" defTabSz="914400" rtl="0" eaLnBrk="1" latinLnBrk="0" hangingPunct="1">
        <a:lnSpc>
          <a:spcPct val="90000"/>
        </a:lnSpc>
        <a:spcBef>
          <a:spcPct val="0"/>
        </a:spcBef>
        <a:buNone/>
        <a:defRPr sz="3200" kern="1200" cap="none" baseline="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3pPr>
      <a:lvl4pPr marL="86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06">
          <p15:clr>
            <a:srgbClr val="F26B43"/>
          </p15:clr>
        </p15:guide>
        <p15:guide id="3" orient="horz" pos="981">
          <p15:clr>
            <a:srgbClr val="F26B43"/>
          </p15:clr>
        </p15:guide>
        <p15:guide id="4" orient="horz" pos="1321">
          <p15:clr>
            <a:srgbClr val="F26B43"/>
          </p15:clr>
        </p15:guide>
        <p15:guide id="5" orient="horz" pos="4020">
          <p15:clr>
            <a:srgbClr val="F26B43"/>
          </p15:clr>
        </p15:guide>
        <p15:guide id="7" orient="horz" pos="396">
          <p15:clr>
            <a:srgbClr val="F26B43"/>
          </p15:clr>
        </p15:guide>
        <p15:guide id="9" pos="6738">
          <p15:clr>
            <a:srgbClr val="F26B43"/>
          </p15:clr>
        </p15:guide>
        <p15:guide id="10" orient="horz" pos="164">
          <p15:clr>
            <a:srgbClr val="F26B43"/>
          </p15:clr>
        </p15:guide>
        <p15:guide id="11" orient="horz" pos="4156">
          <p15:clr>
            <a:srgbClr val="F26B43"/>
          </p15:clr>
        </p15:guide>
        <p15:guide id="12" pos="7514">
          <p15:clr>
            <a:srgbClr val="F26B43"/>
          </p15:clr>
        </p15:guide>
        <p15:guide id="13" orient="horz" pos="420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Kuva 9" descr="Elinkeino-, liikenne- ja ympäristökeskus logo">
            <a:extLst>
              <a:ext uri="{FF2B5EF4-FFF2-40B4-BE49-F238E27FC236}">
                <a16:creationId xmlns:a16="http://schemas.microsoft.com/office/drawing/2014/main" id="{D9176E3B-6C79-4FAA-BB36-05A4122C9DCF}"/>
              </a:ext>
            </a:extLst>
          </p:cNvPr>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10071100" y="6186237"/>
            <a:ext cx="1487486" cy="382139"/>
          </a:xfrm>
          <a:prstGeom prst="rect">
            <a:avLst/>
          </a:prstGeom>
        </p:spPr>
      </p:pic>
      <p:sp>
        <p:nvSpPr>
          <p:cNvPr id="2" name="Otsikon paikkamerkki 1">
            <a:extLst>
              <a:ext uri="{FF2B5EF4-FFF2-40B4-BE49-F238E27FC236}">
                <a16:creationId xmlns:a16="http://schemas.microsoft.com/office/drawing/2014/main" id="{E243A338-5EC7-4196-A0E8-05B1FE38639B}"/>
              </a:ext>
            </a:extLst>
          </p:cNvPr>
          <p:cNvSpPr>
            <a:spLocks noGrp="1"/>
          </p:cNvSpPr>
          <p:nvPr>
            <p:ph type="title"/>
          </p:nvPr>
        </p:nvSpPr>
        <p:spPr>
          <a:xfrm>
            <a:off x="922350" y="470390"/>
            <a:ext cx="10636236" cy="1119501"/>
          </a:xfrm>
          <a:prstGeom prst="rect">
            <a:avLst/>
          </a:prstGeom>
        </p:spPr>
        <p:txBody>
          <a:bodyPr vert="horz" lIns="0" tIns="0" rIns="0" bIns="0" rtlCol="0" anchor="ctr" anchorCtr="0">
            <a:noAutofit/>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861561A0-4845-4E30-A051-2FD9AFC9AE2A}"/>
              </a:ext>
            </a:extLst>
          </p:cNvPr>
          <p:cNvSpPr>
            <a:spLocks noGrp="1"/>
          </p:cNvSpPr>
          <p:nvPr>
            <p:ph type="body" idx="1"/>
          </p:nvPr>
        </p:nvSpPr>
        <p:spPr>
          <a:xfrm>
            <a:off x="922350" y="1856630"/>
            <a:ext cx="10636236" cy="4089200"/>
          </a:xfrm>
          <a:prstGeom prst="rect">
            <a:avLst/>
          </a:prstGeom>
        </p:spPr>
        <p:txBody>
          <a:bodyPr vert="horz" lIns="0" tIns="0" rIns="0" bIns="0" rtlCol="0" anchor="t" anchorCtr="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Dian numeron paikkamerkki 5">
            <a:extLst>
              <a:ext uri="{FF2B5EF4-FFF2-40B4-BE49-F238E27FC236}">
                <a16:creationId xmlns:a16="http://schemas.microsoft.com/office/drawing/2014/main" id="{7B7EE758-1955-4ECF-A6DD-011EFA3D630C}"/>
              </a:ext>
            </a:extLst>
          </p:cNvPr>
          <p:cNvSpPr>
            <a:spLocks noGrp="1"/>
          </p:cNvSpPr>
          <p:nvPr>
            <p:ph type="sldNum" sz="quarter" idx="4"/>
          </p:nvPr>
        </p:nvSpPr>
        <p:spPr>
          <a:xfrm>
            <a:off x="922350" y="6374625"/>
            <a:ext cx="482704" cy="204601"/>
          </a:xfrm>
          <a:prstGeom prst="rect">
            <a:avLst/>
          </a:prstGeom>
        </p:spPr>
        <p:txBody>
          <a:bodyPr vert="horz" lIns="0" tIns="0" rIns="0" bIns="0" rtlCol="0" anchor="ctr" anchorCtr="0">
            <a:noAutofit/>
          </a:bodyPr>
          <a:lstStyle>
            <a:lvl1pPr algn="l">
              <a:defRPr sz="900">
                <a:solidFill>
                  <a:schemeClr val="tx1"/>
                </a:solidFill>
              </a:defRPr>
            </a:lvl1pPr>
          </a:lstStyle>
          <a:p>
            <a:pPr algn="l"/>
            <a:fld id="{03D2D5F4-4871-4469-8343-ED7F6811B37D}" type="slidenum">
              <a:rPr lang="fi-FI" smtClean="0"/>
              <a:pPr algn="l"/>
              <a:t>‹#›</a:t>
            </a:fld>
            <a:endParaRPr lang="fi-FI"/>
          </a:p>
        </p:txBody>
      </p:sp>
      <p:sp>
        <p:nvSpPr>
          <p:cNvPr id="4" name="Päivämäärän paikkamerkki 3">
            <a:extLst>
              <a:ext uri="{FF2B5EF4-FFF2-40B4-BE49-F238E27FC236}">
                <a16:creationId xmlns:a16="http://schemas.microsoft.com/office/drawing/2014/main" id="{DB01483E-483F-47D3-AD16-1A9A682B89F5}"/>
              </a:ext>
            </a:extLst>
          </p:cNvPr>
          <p:cNvSpPr>
            <a:spLocks noGrp="1"/>
          </p:cNvSpPr>
          <p:nvPr>
            <p:ph type="dt" sz="half" idx="2"/>
          </p:nvPr>
        </p:nvSpPr>
        <p:spPr>
          <a:xfrm>
            <a:off x="1449661" y="6374625"/>
            <a:ext cx="976847" cy="204601"/>
          </a:xfrm>
          <a:prstGeom prst="rect">
            <a:avLst/>
          </a:prstGeom>
        </p:spPr>
        <p:txBody>
          <a:bodyPr vert="horz" lIns="0" tIns="0" rIns="0" bIns="0" rtlCol="0" anchor="ctr" anchorCtr="0">
            <a:noAutofit/>
          </a:bodyPr>
          <a:lstStyle>
            <a:lvl1pPr algn="r">
              <a:defRPr sz="900">
                <a:solidFill>
                  <a:schemeClr val="tx1"/>
                </a:solidFill>
              </a:defRPr>
            </a:lvl1pPr>
          </a:lstStyle>
          <a:p>
            <a:pPr algn="r"/>
            <a:r>
              <a:rPr lang="fi-FI"/>
              <a:t>26.4.2022  |  </a:t>
            </a:r>
          </a:p>
        </p:txBody>
      </p:sp>
      <p:sp>
        <p:nvSpPr>
          <p:cNvPr id="5" name="Alatunnisteen paikkamerkki 4">
            <a:extLst>
              <a:ext uri="{FF2B5EF4-FFF2-40B4-BE49-F238E27FC236}">
                <a16:creationId xmlns:a16="http://schemas.microsoft.com/office/drawing/2014/main" id="{CFDCAB2B-23AF-4B8F-8F67-2952F4848072}"/>
              </a:ext>
            </a:extLst>
          </p:cNvPr>
          <p:cNvSpPr>
            <a:spLocks noGrp="1"/>
          </p:cNvSpPr>
          <p:nvPr>
            <p:ph type="ftr" sz="quarter" idx="3"/>
          </p:nvPr>
        </p:nvSpPr>
        <p:spPr>
          <a:xfrm>
            <a:off x="2495272" y="6374625"/>
            <a:ext cx="3600728" cy="204601"/>
          </a:xfrm>
          <a:prstGeom prst="rect">
            <a:avLst/>
          </a:prstGeom>
        </p:spPr>
        <p:txBody>
          <a:bodyPr vert="horz" lIns="0" tIns="0" rIns="0" bIns="0" rtlCol="0" anchor="ctr" anchorCtr="0">
            <a:noAutofit/>
          </a:bodyPr>
          <a:lstStyle>
            <a:lvl1pPr algn="l">
              <a:defRPr sz="900">
                <a:solidFill>
                  <a:schemeClr val="tx1"/>
                </a:solidFill>
              </a:defRPr>
            </a:lvl1pPr>
          </a:lstStyle>
          <a:p>
            <a:pPr algn="l"/>
            <a:r>
              <a:rPr lang="fi-FI"/>
              <a:t>Päivi Hautaniemi</a:t>
            </a:r>
          </a:p>
        </p:txBody>
      </p:sp>
    </p:spTree>
    <p:extLst>
      <p:ext uri="{BB962C8B-B14F-4D97-AF65-F5344CB8AC3E}">
        <p14:creationId xmlns:p14="http://schemas.microsoft.com/office/powerpoint/2010/main" val="3079863156"/>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38" r:id="rId30"/>
    <p:sldLayoutId id="2147483739" r:id="rId3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3600" b="1" kern="1200">
          <a:solidFill>
            <a:schemeClr val="tx2"/>
          </a:solidFill>
          <a:latin typeface="+mj-lt"/>
          <a:ea typeface="+mj-ea"/>
          <a:cs typeface="+mj-cs"/>
        </a:defRPr>
      </a:lvl1pPr>
    </p:titleStyle>
    <p:bodyStyle>
      <a:lvl1pPr marL="357188" indent="-357188" algn="l" defTabSz="914400" rtl="0" eaLnBrk="1" latinLnBrk="0" hangingPunct="1">
        <a:lnSpc>
          <a:spcPct val="100000"/>
        </a:lnSpc>
        <a:spcBef>
          <a:spcPts val="1000"/>
        </a:spcBef>
        <a:buClr>
          <a:schemeClr val="tx2"/>
        </a:buClr>
        <a:buFont typeface="Arial" panose="020B0604020202020204" pitchFamily="34" charset="0"/>
        <a:buChar char="•"/>
        <a:defRPr sz="2600" kern="1200">
          <a:solidFill>
            <a:schemeClr val="tx1"/>
          </a:solidFill>
          <a:latin typeface="+mn-lt"/>
          <a:ea typeface="+mn-ea"/>
          <a:cs typeface="+mn-cs"/>
        </a:defRPr>
      </a:lvl1pPr>
      <a:lvl2pPr marL="715963" indent="-357188" algn="l" defTabSz="914400" rtl="0" eaLnBrk="1" latinLnBrk="0" hangingPunct="1">
        <a:lnSpc>
          <a:spcPct val="100000"/>
        </a:lnSpc>
        <a:spcBef>
          <a:spcPts val="1000"/>
        </a:spcBef>
        <a:buClr>
          <a:schemeClr val="tx2"/>
        </a:buClr>
        <a:buFont typeface="Arial" panose="020B0604020202020204" pitchFamily="34" charset="0"/>
        <a:buChar char="•"/>
        <a:defRPr sz="2200" kern="1200">
          <a:solidFill>
            <a:schemeClr val="tx1"/>
          </a:solidFill>
          <a:latin typeface="+mn-lt"/>
          <a:ea typeface="+mn-ea"/>
          <a:cs typeface="+mn-cs"/>
        </a:defRPr>
      </a:lvl2pPr>
      <a:lvl3pPr marL="1077913" indent="-360363" algn="l" defTabSz="914400" rtl="0" eaLnBrk="1" latinLnBrk="0" hangingPunct="1">
        <a:lnSpc>
          <a:spcPct val="100000"/>
        </a:lnSpc>
        <a:spcBef>
          <a:spcPts val="1000"/>
        </a:spcBef>
        <a:buClr>
          <a:schemeClr val="tx2"/>
        </a:buClr>
        <a:buFont typeface="Arial" panose="020B0604020202020204" pitchFamily="34" charset="0"/>
        <a:buChar char="‒"/>
        <a:defRPr sz="1800" kern="1200">
          <a:solidFill>
            <a:schemeClr val="tx1"/>
          </a:solidFill>
          <a:latin typeface="+mn-lt"/>
          <a:ea typeface="+mn-ea"/>
          <a:cs typeface="+mn-cs"/>
        </a:defRPr>
      </a:lvl3pPr>
      <a:lvl4pPr marL="1435100" indent="-358775" algn="l" defTabSz="914400" rtl="0" eaLnBrk="1" latinLnBrk="0" hangingPunct="1">
        <a:lnSpc>
          <a:spcPct val="100000"/>
        </a:lnSpc>
        <a:spcBef>
          <a:spcPts val="1000"/>
        </a:spcBef>
        <a:buClr>
          <a:schemeClr val="tx2"/>
        </a:buClr>
        <a:buFont typeface="Arial" panose="020B0604020202020204" pitchFamily="34" charset="0"/>
        <a:buChar char="‒"/>
        <a:defRPr sz="1800" kern="1200">
          <a:solidFill>
            <a:schemeClr val="tx1"/>
          </a:solidFill>
          <a:latin typeface="+mn-lt"/>
          <a:ea typeface="+mn-ea"/>
          <a:cs typeface="+mn-cs"/>
        </a:defRPr>
      </a:lvl4pPr>
      <a:lvl5pPr marL="1792288" indent="-357188" algn="l" defTabSz="914400" rtl="0" eaLnBrk="1" latinLnBrk="0" hangingPunct="1">
        <a:lnSpc>
          <a:spcPct val="100000"/>
        </a:lnSpc>
        <a:spcBef>
          <a:spcPts val="1000"/>
        </a:spcBef>
        <a:buClr>
          <a:schemeClr val="tx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566">
          <p15:clr>
            <a:srgbClr val="F26B43"/>
          </p15:clr>
        </p15:guide>
        <p15:guide id="2" orient="horz" pos="2160">
          <p15:clr>
            <a:srgbClr val="F26B43"/>
          </p15:clr>
        </p15:guide>
        <p15:guide id="3" pos="114">
          <p15:clr>
            <a:srgbClr val="F26B43"/>
          </p15:clr>
        </p15:guide>
        <p15:guide id="4" orient="horz" pos="108">
          <p15:clr>
            <a:srgbClr val="F26B43"/>
          </p15:clr>
        </p15:guide>
        <p15:guide id="5" orient="horz" pos="4212">
          <p15:clr>
            <a:srgbClr val="F26B43"/>
          </p15:clr>
        </p15:guide>
        <p15:guide id="6"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6533" y="771988"/>
            <a:ext cx="10955867" cy="971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8000" tIns="46800" rIns="108000" bIns="45720" numCol="1" anchor="t" anchorCtr="0" compatLnSpc="1">
            <a:prstTxWarp prst="textNoShape">
              <a:avLst/>
            </a:prstTxWarp>
            <a:normAutofit/>
          </a:bodyPr>
          <a:lstStyle/>
          <a:p>
            <a:pPr lvl="0"/>
            <a:r>
              <a:rPr lang="en-US" noProof="0"/>
              <a:t>MUOKKAA TEKSTIÄ</a:t>
            </a:r>
          </a:p>
        </p:txBody>
      </p:sp>
      <p:sp>
        <p:nvSpPr>
          <p:cNvPr id="1032" name="Text Placeholder 9"/>
          <p:cNvSpPr>
            <a:spLocks noGrp="1"/>
          </p:cNvSpPr>
          <p:nvPr>
            <p:ph type="body" idx="1"/>
          </p:nvPr>
        </p:nvSpPr>
        <p:spPr bwMode="auto">
          <a:xfrm>
            <a:off x="626536" y="1839886"/>
            <a:ext cx="10955865" cy="403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lvl="0"/>
            <a:r>
              <a:rPr lang="en-US" noProof="0" err="1"/>
              <a:t>Muokkaa</a:t>
            </a:r>
            <a:r>
              <a:rPr lang="en-US" noProof="0"/>
              <a:t> </a:t>
            </a:r>
            <a:r>
              <a:rPr lang="en-US" noProof="0" err="1"/>
              <a:t>tekstiä</a:t>
            </a:r>
            <a:endParaRPr lang="en-US" noProof="0"/>
          </a:p>
          <a:p>
            <a:pPr lvl="1"/>
            <a:r>
              <a:rPr lang="en-US" noProof="0" err="1"/>
              <a:t>Toinen</a:t>
            </a:r>
            <a:r>
              <a:rPr lang="en-US" noProof="0"/>
              <a:t> </a:t>
            </a:r>
            <a:r>
              <a:rPr lang="en-US" noProof="0" err="1"/>
              <a:t>taso</a:t>
            </a:r>
            <a:endParaRPr lang="en-US" noProof="0"/>
          </a:p>
          <a:p>
            <a:pPr lvl="2"/>
            <a:r>
              <a:rPr lang="en-US" noProof="0" err="1"/>
              <a:t>Kolmas</a:t>
            </a:r>
            <a:r>
              <a:rPr lang="en-US" noProof="0"/>
              <a:t> </a:t>
            </a:r>
            <a:r>
              <a:rPr lang="en-US" noProof="0" err="1"/>
              <a:t>taso</a:t>
            </a:r>
            <a:endParaRPr lang="en-US" noProof="0"/>
          </a:p>
          <a:p>
            <a:pPr lvl="3"/>
            <a:r>
              <a:rPr lang="en-US" noProof="0" err="1"/>
              <a:t>Neljäs</a:t>
            </a:r>
            <a:r>
              <a:rPr lang="en-US" noProof="0"/>
              <a:t> </a:t>
            </a:r>
            <a:r>
              <a:rPr lang="en-US" noProof="0" err="1"/>
              <a:t>taso</a:t>
            </a:r>
            <a:endParaRPr lang="en-US" noProof="0"/>
          </a:p>
          <a:p>
            <a:pPr lvl="4"/>
            <a:r>
              <a:rPr lang="en-US" noProof="0" err="1"/>
              <a:t>Viides</a:t>
            </a:r>
            <a:r>
              <a:rPr lang="en-US" noProof="0"/>
              <a:t> </a:t>
            </a:r>
            <a:r>
              <a:rPr lang="en-US" noProof="0" err="1"/>
              <a:t>taso</a:t>
            </a:r>
            <a:endParaRPr lang="en-US" noProof="0"/>
          </a:p>
        </p:txBody>
      </p:sp>
      <p:sp>
        <p:nvSpPr>
          <p:cNvPr id="7" name="Date Placeholder 3">
            <a:extLst>
              <a:ext uri="{FF2B5EF4-FFF2-40B4-BE49-F238E27FC236}">
                <a16:creationId xmlns:a16="http://schemas.microsoft.com/office/drawing/2014/main" id="{644FAEB9-F95B-004E-9957-C7DCFA7CACD4}"/>
              </a:ext>
            </a:extLst>
          </p:cNvPr>
          <p:cNvSpPr txBox="1">
            <a:spLocks/>
          </p:cNvSpPr>
          <p:nvPr userDrawn="1"/>
        </p:nvSpPr>
        <p:spPr>
          <a:xfrm>
            <a:off x="452912" y="6551657"/>
            <a:ext cx="744937" cy="144533"/>
          </a:xfrm>
          <a:prstGeom prst="rect">
            <a:avLst/>
          </a:prstGeom>
        </p:spPr>
        <p:txBody>
          <a:bodyPr anchor="ctr"/>
          <a:lstStyle>
            <a:lvl1pPr eaLnBrk="0" hangingPunct="0">
              <a:defRPr sz="2400">
                <a:solidFill>
                  <a:schemeClr val="tx1"/>
                </a:solidFill>
                <a:latin typeface="Arial" pitchFamily="34" charset="0"/>
                <a:ea typeface="ＭＳ Ｐゴシック" pitchFamily="34" charset="-128"/>
              </a:defRPr>
            </a:lvl1pPr>
            <a:lvl2pPr marL="37931725" indent="-37474525" eaLnBrk="0" hangingPunct="0">
              <a:defRPr sz="2400">
                <a:solidFill>
                  <a:schemeClr val="tx1"/>
                </a:solidFill>
                <a:latin typeface="Arial" pitchFamily="34" charset="0"/>
                <a:ea typeface="ＭＳ Ｐゴシック" pitchFamily="34" charset="-128"/>
              </a:defRPr>
            </a:lvl2pPr>
            <a:lvl3pPr eaLnBrk="0" hangingPunct="0">
              <a:defRPr sz="2400">
                <a:solidFill>
                  <a:schemeClr val="tx1"/>
                </a:solidFill>
                <a:latin typeface="Arial" pitchFamily="34" charset="0"/>
                <a:ea typeface="ＭＳ Ｐゴシック" pitchFamily="34" charset="-128"/>
              </a:defRPr>
            </a:lvl3pPr>
            <a:lvl4pPr eaLnBrk="0" hangingPunct="0">
              <a:defRPr sz="2400">
                <a:solidFill>
                  <a:schemeClr val="tx1"/>
                </a:solidFill>
                <a:latin typeface="Arial" pitchFamily="34" charset="0"/>
                <a:ea typeface="ＭＳ Ｐゴシック" pitchFamily="34" charset="-128"/>
              </a:defRPr>
            </a:lvl4pPr>
            <a:lvl5pPr eaLnBrk="0" hangingPunct="0">
              <a:defRPr sz="24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eaLnBrk="1" hangingPunct="1">
              <a:defRPr/>
            </a:pPr>
            <a:r>
              <a:rPr lang="en-US" sz="900" b="0" i="0">
                <a:solidFill>
                  <a:schemeClr val="accent3"/>
                </a:solidFill>
                <a:latin typeface="Open Sans" panose="020B0606030504020204" pitchFamily="34" charset="0"/>
                <a:cs typeface="Calibri Light"/>
              </a:rPr>
              <a:t>© </a:t>
            </a:r>
            <a:r>
              <a:rPr lang="en-US" sz="900" b="0" i="0" err="1">
                <a:solidFill>
                  <a:schemeClr val="accent3"/>
                </a:solidFill>
                <a:latin typeface="Open Sans" panose="020B0606030504020204" pitchFamily="34" charset="0"/>
                <a:cs typeface="Calibri Light"/>
              </a:rPr>
              <a:t>Destia</a:t>
            </a:r>
            <a:endParaRPr lang="en-US" sz="900" b="0" i="0">
              <a:solidFill>
                <a:schemeClr val="accent3"/>
              </a:solidFill>
              <a:latin typeface="Open Sans" panose="020B0606030504020204" pitchFamily="34" charset="0"/>
              <a:cs typeface="Calibri Light"/>
            </a:endParaRPr>
          </a:p>
        </p:txBody>
      </p:sp>
      <p:sp>
        <p:nvSpPr>
          <p:cNvPr id="8" name="Shape 8">
            <a:extLst>
              <a:ext uri="{FF2B5EF4-FFF2-40B4-BE49-F238E27FC236}">
                <a16:creationId xmlns:a16="http://schemas.microsoft.com/office/drawing/2014/main" id="{5E8AEC27-F925-4516-AC6F-51D618A51BB1}"/>
              </a:ext>
            </a:extLst>
          </p:cNvPr>
          <p:cNvSpPr txBox="1">
            <a:spLocks/>
          </p:cNvSpPr>
          <p:nvPr userDrawn="1"/>
        </p:nvSpPr>
        <p:spPr>
          <a:xfrm>
            <a:off x="201952" y="6505181"/>
            <a:ext cx="501921" cy="199216"/>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pPr>
            <a:fld id="{86CB4B4D-7CA3-9044-876B-883B54F8677D}" type="slidenum">
              <a:rPr lang="en-GB" sz="900" b="0" i="0" smtClean="0">
                <a:solidFill>
                  <a:schemeClr val="accent3"/>
                </a:solidFill>
                <a:latin typeface="Open Sans" panose="020B0606030504020204" pitchFamily="34" charset="0"/>
                <a:ea typeface="Open Sans" panose="020B0606030504020204" pitchFamily="34" charset="0"/>
                <a:cs typeface="Open Sans" panose="020B0606030504020204" pitchFamily="34" charset="0"/>
              </a:rPr>
              <a:pPr algn="l" fontAlgn="auto">
                <a:spcBef>
                  <a:spcPts val="0"/>
                </a:spcBef>
                <a:spcAft>
                  <a:spcPts val="0"/>
                </a:spcAft>
              </a:pPr>
              <a:t>‹#›</a:t>
            </a:fld>
            <a:endParaRPr lang="en-GB" sz="1200" b="0" i="0">
              <a:solidFill>
                <a:schemeClr val="accent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 name="Date Placeholder 2">
            <a:extLst>
              <a:ext uri="{FF2B5EF4-FFF2-40B4-BE49-F238E27FC236}">
                <a16:creationId xmlns:a16="http://schemas.microsoft.com/office/drawing/2014/main" id="{A2C8DB1B-EF18-6547-AB08-192A49423821}"/>
              </a:ext>
            </a:extLst>
          </p:cNvPr>
          <p:cNvSpPr>
            <a:spLocks noGrp="1"/>
          </p:cNvSpPr>
          <p:nvPr>
            <p:ph type="dt" sz="half" idx="2"/>
          </p:nvPr>
        </p:nvSpPr>
        <p:spPr>
          <a:xfrm>
            <a:off x="1298279" y="6551658"/>
            <a:ext cx="3301999" cy="144532"/>
          </a:xfrm>
          <a:prstGeom prst="rect">
            <a:avLst/>
          </a:prstGeom>
        </p:spPr>
        <p:txBody>
          <a:bodyPr vert="horz" lIns="91440" tIns="45720" rIns="91440" bIns="45720" rtlCol="0" anchor="ctr"/>
          <a:lstStyle>
            <a:lvl1pPr algn="l">
              <a:defRPr sz="900" b="0" i="0">
                <a:solidFill>
                  <a:schemeClr val="accent3"/>
                </a:solidFill>
                <a:latin typeface="Open Sans" panose="020B0606030504020204" pitchFamily="34" charset="0"/>
              </a:defRPr>
            </a:lvl1pPr>
          </a:lstStyle>
          <a:p>
            <a:fld id="{6768E0A5-008C-F34B-AD25-9D7FBA9DB50F}" type="datetime1">
              <a:rPr lang="fi-FI" smtClean="0"/>
              <a:pPr/>
              <a:t>29.4.2022</a:t>
            </a:fld>
            <a:endParaRPr lang="fi-FI"/>
          </a:p>
        </p:txBody>
      </p:sp>
      <p:sp>
        <p:nvSpPr>
          <p:cNvPr id="2" name="Alatunnisteen paikkamerkki 1">
            <a:extLst>
              <a:ext uri="{FF2B5EF4-FFF2-40B4-BE49-F238E27FC236}">
                <a16:creationId xmlns:a16="http://schemas.microsoft.com/office/drawing/2014/main" id="{7F0A93CB-10E1-244A-8DB5-655EBFA052C5}"/>
              </a:ext>
            </a:extLst>
          </p:cNvPr>
          <p:cNvSpPr>
            <a:spLocks noGrp="1"/>
          </p:cNvSpPr>
          <p:nvPr>
            <p:ph type="ftr" sz="quarter" idx="3"/>
          </p:nvPr>
        </p:nvSpPr>
        <p:spPr>
          <a:xfrm>
            <a:off x="4608743" y="6551657"/>
            <a:ext cx="2991446" cy="144532"/>
          </a:xfrm>
          <a:prstGeom prst="rect">
            <a:avLst/>
          </a:prstGeom>
        </p:spPr>
        <p:txBody>
          <a:bodyPr vert="horz" lIns="91440" tIns="45720" rIns="91440" bIns="45720" rtlCol="0" anchor="ctr"/>
          <a:lstStyle>
            <a:lvl1pPr algn="ctr">
              <a:defRPr sz="900" b="0" i="0">
                <a:solidFill>
                  <a:schemeClr val="accent3"/>
                </a:solidFill>
                <a:latin typeface="Open Sans" panose="020B0606030504020204" pitchFamily="34" charset="0"/>
              </a:defRPr>
            </a:lvl1pPr>
          </a:lstStyle>
          <a:p>
            <a:endParaRPr lang="fi-FI"/>
          </a:p>
        </p:txBody>
      </p:sp>
      <p:pic>
        <p:nvPicPr>
          <p:cNvPr id="14" name="Kuva 13" descr="Kuva, joka sisältää kohteen teksti, kello&#10;&#10;Kuvaus luotu automaattisesti">
            <a:extLst>
              <a:ext uri="{FF2B5EF4-FFF2-40B4-BE49-F238E27FC236}">
                <a16:creationId xmlns:a16="http://schemas.microsoft.com/office/drawing/2014/main" id="{A5471FED-8F71-467F-BB94-054AE213DC13}"/>
              </a:ext>
            </a:extLst>
          </p:cNvPr>
          <p:cNvPicPr>
            <a:picLocks noChangeAspect="1"/>
          </p:cNvPicPr>
          <p:nvPr userDrawn="1"/>
        </p:nvPicPr>
        <p:blipFill>
          <a:blip r:embed="rId44"/>
          <a:stretch>
            <a:fillRect/>
          </a:stretch>
        </p:blipFill>
        <p:spPr>
          <a:xfrm>
            <a:off x="10089751" y="6139935"/>
            <a:ext cx="1782003" cy="457339"/>
          </a:xfrm>
          <a:prstGeom prst="rect">
            <a:avLst/>
          </a:prstGeom>
        </p:spPr>
      </p:pic>
    </p:spTree>
    <p:extLst>
      <p:ext uri="{BB962C8B-B14F-4D97-AF65-F5344CB8AC3E}">
        <p14:creationId xmlns:p14="http://schemas.microsoft.com/office/powerpoint/2010/main" val="775728458"/>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69" r:id="rId29"/>
    <p:sldLayoutId id="2147483770" r:id="rId30"/>
    <p:sldLayoutId id="2147483771" r:id="rId31"/>
    <p:sldLayoutId id="2147483772" r:id="rId32"/>
    <p:sldLayoutId id="2147483773" r:id="rId33"/>
    <p:sldLayoutId id="2147483774" r:id="rId34"/>
    <p:sldLayoutId id="2147483775" r:id="rId35"/>
    <p:sldLayoutId id="2147483776" r:id="rId36"/>
    <p:sldLayoutId id="2147483777" r:id="rId37"/>
    <p:sldLayoutId id="2147483778" r:id="rId38"/>
    <p:sldLayoutId id="2147483779" r:id="rId39"/>
    <p:sldLayoutId id="2147483780" r:id="rId40"/>
    <p:sldLayoutId id="2147483781" r:id="rId41"/>
    <p:sldLayoutId id="2147483782" r:id="rId42"/>
  </p:sldLayoutIdLst>
  <p:transition spd="slow"/>
  <p:hf sldNum="0" hdr="0"/>
  <p:txStyles>
    <p:titleStyle>
      <a:lvl1pPr algn="l" defTabSz="609585" rtl="0" eaLnBrk="1" fontAlgn="base" hangingPunct="1">
        <a:lnSpc>
          <a:spcPct val="80000"/>
        </a:lnSpc>
        <a:spcBef>
          <a:spcPct val="0"/>
        </a:spcBef>
        <a:spcAft>
          <a:spcPct val="0"/>
        </a:spcAft>
        <a:defRPr sz="3200" b="1" i="0" kern="1200">
          <a:solidFill>
            <a:schemeClr val="accent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2pPr>
      <a:lvl3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3pPr>
      <a:lvl4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4pPr>
      <a:lvl5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5pPr>
      <a:lvl6pPr marL="609585"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6pPr>
      <a:lvl7pPr marL="1219170"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7pPr>
      <a:lvl8pPr marL="1828754"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8pPr>
      <a:lvl9pPr marL="2438339"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9pPr>
    </p:titleStyle>
    <p:bodyStyle>
      <a:lvl1pPr marL="237061" indent="-237061" algn="l" defTabSz="609585" rtl="0" eaLnBrk="1" fontAlgn="base" hangingPunct="1">
        <a:lnSpc>
          <a:spcPct val="100000"/>
        </a:lnSpc>
        <a:spcBef>
          <a:spcPts val="267"/>
        </a:spcBef>
        <a:spcAft>
          <a:spcPts val="267"/>
        </a:spcAft>
        <a:buClr>
          <a:schemeClr val="accent1"/>
        </a:buClr>
        <a:buSzPct val="120000"/>
        <a:buFont typeface="Wingdings" pitchFamily="2" charset="2"/>
        <a:buChar char="§"/>
        <a:defRPr sz="1867" b="1" i="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marL="474121" indent="-234945" algn="l" defTabSz="609585" rtl="0" eaLnBrk="1" fontAlgn="base" hangingPunct="1">
        <a:lnSpc>
          <a:spcPct val="100000"/>
        </a:lnSpc>
        <a:spcBef>
          <a:spcPts val="267"/>
        </a:spcBef>
        <a:spcAft>
          <a:spcPts val="267"/>
        </a:spcAft>
        <a:buClr>
          <a:schemeClr val="accent1"/>
        </a:buClr>
        <a:buSzPct val="120000"/>
        <a:buFont typeface="Wingdings" pitchFamily="2" charset="2"/>
        <a:buChar char="§"/>
        <a:tabLst/>
        <a:defRPr sz="1600" b="0" i="0" kern="1200">
          <a:solidFill>
            <a:schemeClr val="accent3"/>
          </a:solidFill>
          <a:latin typeface="Open Sans" panose="020B0606030504020204" pitchFamily="34" charset="0"/>
          <a:ea typeface="ヒラギノ角ゴ Pro W3" charset="0"/>
          <a:cs typeface="Open Sans" panose="020B0606030504020204" pitchFamily="34" charset="0"/>
        </a:defRPr>
      </a:lvl2pPr>
      <a:lvl3pPr marL="711182" indent="-237061" algn="l" defTabSz="609585" rtl="0" eaLnBrk="1" fontAlgn="base" hangingPunct="1">
        <a:lnSpc>
          <a:spcPct val="100000"/>
        </a:lnSpc>
        <a:spcBef>
          <a:spcPts val="267"/>
        </a:spcBef>
        <a:spcAft>
          <a:spcPts val="267"/>
        </a:spcAft>
        <a:buClr>
          <a:schemeClr val="accent1"/>
        </a:buClr>
        <a:buSzPct val="120000"/>
        <a:buFont typeface="Wingdings" pitchFamily="2" charset="2"/>
        <a:buChar char="§"/>
        <a:tabLst/>
        <a:defRPr sz="1467" b="0" i="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marL="829713" indent="-228594" algn="l" defTabSz="609585" rtl="0" eaLnBrk="1" fontAlgn="base" hangingPunct="1">
        <a:lnSpc>
          <a:spcPct val="100000"/>
        </a:lnSpc>
        <a:spcBef>
          <a:spcPts val="267"/>
        </a:spcBef>
        <a:spcAft>
          <a:spcPts val="267"/>
        </a:spcAft>
        <a:buClr>
          <a:schemeClr val="accent1"/>
        </a:buClr>
        <a:buSzPct val="120000"/>
        <a:buFont typeface="Wingdings" pitchFamily="2" charset="2"/>
        <a:buChar char="§"/>
        <a:tabLst/>
        <a:defRPr sz="1333" b="0" i="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4pPr>
      <a:lvl5pPr marL="1007508" indent="-287859" algn="l" defTabSz="956709" rtl="0" eaLnBrk="1" fontAlgn="base" hangingPunct="1">
        <a:lnSpc>
          <a:spcPct val="100000"/>
        </a:lnSpc>
        <a:spcBef>
          <a:spcPts val="267"/>
        </a:spcBef>
        <a:spcAft>
          <a:spcPts val="267"/>
        </a:spcAft>
        <a:buClr>
          <a:schemeClr val="accent1"/>
        </a:buClr>
        <a:buSzPct val="120000"/>
        <a:buFont typeface="Wingdings" pitchFamily="2" charset="2"/>
        <a:buChar char="§"/>
        <a:tabLst/>
        <a:defRPr sz="1200" b="0" i="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5pPr>
      <a:lvl6pPr marL="3047924" indent="0" algn="l" defTabSz="609585" rtl="0" eaLnBrk="1" latinLnBrk="0" hangingPunct="1">
        <a:spcBef>
          <a:spcPct val="20000"/>
        </a:spcBef>
        <a:buFont typeface="Arial"/>
        <a:buNone/>
        <a:defRPr sz="2000" b="0" i="0" kern="1200">
          <a:solidFill>
            <a:schemeClr val="tx1"/>
          </a:solidFill>
          <a:latin typeface="FS Emeric Light"/>
          <a:ea typeface="+mn-ea"/>
          <a:cs typeface="FS Emeric Light"/>
        </a:defRPr>
      </a:lvl6pPr>
      <a:lvl7pPr marL="3962301" indent="-304792" algn="l" defTabSz="609585" rtl="0" eaLnBrk="1" latinLnBrk="0" hangingPunct="1">
        <a:spcBef>
          <a:spcPct val="20000"/>
        </a:spcBef>
        <a:buFont typeface="Arial"/>
        <a:buChar char="•"/>
        <a:defRPr sz="2000" b="0" i="0" kern="1200">
          <a:solidFill>
            <a:schemeClr val="tx1"/>
          </a:solidFill>
          <a:latin typeface="FS Emeric Light"/>
          <a:ea typeface="+mn-ea"/>
          <a:cs typeface="FS Emeric Light"/>
        </a:defRPr>
      </a:lvl7pPr>
      <a:lvl8pPr marL="4571886" indent="-304792" algn="l" defTabSz="609585" rtl="0" eaLnBrk="1" latinLnBrk="0" hangingPunct="1">
        <a:spcBef>
          <a:spcPct val="20000"/>
        </a:spcBef>
        <a:buFont typeface="Arial"/>
        <a:buChar char="•"/>
        <a:defRPr sz="2000" b="0" i="0" kern="1200">
          <a:solidFill>
            <a:schemeClr val="tx1"/>
          </a:solidFill>
          <a:latin typeface="FS Emeric Light"/>
          <a:ea typeface="+mn-ea"/>
          <a:cs typeface="FS Emeric Light"/>
        </a:defRPr>
      </a:lvl8pPr>
      <a:lvl9pPr marL="5181470" indent="-304792" algn="l" defTabSz="609585" rtl="0" eaLnBrk="1" latinLnBrk="0" hangingPunct="1">
        <a:spcBef>
          <a:spcPct val="20000"/>
        </a:spcBef>
        <a:buFont typeface="Arial"/>
        <a:buChar char="•"/>
        <a:defRPr sz="2667" b="0" i="0" kern="1200">
          <a:solidFill>
            <a:schemeClr val="tx1"/>
          </a:solidFill>
          <a:latin typeface="FS Emeric Light"/>
          <a:ea typeface="+mn-ea"/>
          <a:cs typeface="FS Emeric Light"/>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image" Target="../media/image66.png"/></Relationships>
</file>

<file path=ppt/slides/_rels/slide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mailto:kirjaamo@ii.fi" TargetMode="Externa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67.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2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image" Target="../media/image70.png"/></Relationships>
</file>

<file path=ppt/slides/_rels/slide2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0.xml"/></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7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7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3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7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mailto:kirjaamo@ii.fi" TargetMode="Externa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3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8480" y="1428209"/>
            <a:ext cx="11124701" cy="2000791"/>
          </a:xfrm>
        </p:spPr>
        <p:txBody>
          <a:bodyPr anchor="ctr">
            <a:normAutofit/>
          </a:bodyPr>
          <a:lstStyle/>
          <a:p>
            <a:r>
              <a:rPr lang="fi-FI"/>
              <a:t>IIN STRATEGINEN YLEISKAAVA </a:t>
            </a:r>
            <a:r>
              <a:rPr lang="fi-FI">
                <a:solidFill>
                  <a:srgbClr val="0070C0"/>
                </a:solidFill>
              </a:rPr>
              <a:t>2040</a:t>
            </a:r>
            <a:br>
              <a:rPr lang="fi-FI" sz="2800"/>
            </a:br>
            <a:br>
              <a:rPr lang="fi-FI" sz="2800"/>
            </a:br>
            <a:r>
              <a:rPr lang="fi-FI" sz="2800">
                <a:solidFill>
                  <a:srgbClr val="0070C0"/>
                </a:solidFill>
              </a:rPr>
              <a:t>Kaavaluonnos</a:t>
            </a:r>
            <a:br>
              <a:rPr lang="fi-FI" sz="2800"/>
            </a:br>
            <a:br>
              <a:rPr lang="fi-FI" sz="2800"/>
            </a:br>
            <a:r>
              <a:rPr lang="fi-FI" sz="1800">
                <a:solidFill>
                  <a:schemeClr val="bg1">
                    <a:lumMod val="50000"/>
                  </a:schemeClr>
                </a:solidFill>
              </a:rPr>
              <a:t>Esittely- ja keskustelutilaisuus 26.4.2022</a:t>
            </a:r>
            <a:endParaRPr lang="fi-FI" sz="2800">
              <a:solidFill>
                <a:schemeClr val="bg1">
                  <a:lumMod val="50000"/>
                </a:schemeClr>
              </a:solidFill>
            </a:endParaRP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40348"/>
            <a:ext cx="1604422" cy="412865"/>
          </a:xfrm>
          <a:prstGeom prst="rect">
            <a:avLst/>
          </a:prstGeom>
        </p:spPr>
      </p:pic>
      <p:pic>
        <p:nvPicPr>
          <p:cNvPr id="3" name="Kuva 2">
            <a:extLst>
              <a:ext uri="{FF2B5EF4-FFF2-40B4-BE49-F238E27FC236}">
                <a16:creationId xmlns:a16="http://schemas.microsoft.com/office/drawing/2014/main" id="{15F4D74E-4027-4E79-B4D5-5F64D1CA02F3}"/>
              </a:ext>
            </a:extLst>
          </p:cNvPr>
          <p:cNvPicPr>
            <a:picLocks noChangeAspect="1"/>
          </p:cNvPicPr>
          <p:nvPr/>
        </p:nvPicPr>
        <p:blipFill>
          <a:blip r:embed="rId3"/>
          <a:stretch>
            <a:fillRect/>
          </a:stretch>
        </p:blipFill>
        <p:spPr>
          <a:xfrm>
            <a:off x="7648575" y="4562760"/>
            <a:ext cx="3943351" cy="1868176"/>
          </a:xfrm>
          <a:prstGeom prst="rect">
            <a:avLst/>
          </a:prstGeom>
        </p:spPr>
      </p:pic>
      <p:pic>
        <p:nvPicPr>
          <p:cNvPr id="5" name="Kuva 4">
            <a:extLst>
              <a:ext uri="{FF2B5EF4-FFF2-40B4-BE49-F238E27FC236}">
                <a16:creationId xmlns:a16="http://schemas.microsoft.com/office/drawing/2014/main" id="{FD336E9D-8797-4FB3-AD40-7C94E3C05E2E}"/>
              </a:ext>
            </a:extLst>
          </p:cNvPr>
          <p:cNvPicPr>
            <a:picLocks noChangeAspect="1"/>
          </p:cNvPicPr>
          <p:nvPr/>
        </p:nvPicPr>
        <p:blipFill>
          <a:blip r:embed="rId4"/>
          <a:stretch>
            <a:fillRect/>
          </a:stretch>
        </p:blipFill>
        <p:spPr>
          <a:xfrm>
            <a:off x="8901753" y="2428604"/>
            <a:ext cx="2690173" cy="2019947"/>
          </a:xfrm>
          <a:prstGeom prst="rect">
            <a:avLst/>
          </a:prstGeom>
        </p:spPr>
      </p:pic>
      <p:pic>
        <p:nvPicPr>
          <p:cNvPr id="7" name="Kuva 6">
            <a:extLst>
              <a:ext uri="{FF2B5EF4-FFF2-40B4-BE49-F238E27FC236}">
                <a16:creationId xmlns:a16="http://schemas.microsoft.com/office/drawing/2014/main" id="{29C93380-1C6F-4D72-B667-4ACCDCFA3AB9}"/>
              </a:ext>
            </a:extLst>
          </p:cNvPr>
          <p:cNvPicPr>
            <a:picLocks noChangeAspect="1"/>
          </p:cNvPicPr>
          <p:nvPr/>
        </p:nvPicPr>
        <p:blipFill>
          <a:blip r:embed="rId5"/>
          <a:stretch>
            <a:fillRect/>
          </a:stretch>
        </p:blipFill>
        <p:spPr>
          <a:xfrm>
            <a:off x="6505476" y="2942708"/>
            <a:ext cx="2286198" cy="1505843"/>
          </a:xfrm>
          <a:prstGeom prst="rect">
            <a:avLst/>
          </a:prstGeom>
        </p:spPr>
      </p:pic>
      <p:sp>
        <p:nvSpPr>
          <p:cNvPr id="8" name="Tekstiruutu 7">
            <a:extLst>
              <a:ext uri="{FF2B5EF4-FFF2-40B4-BE49-F238E27FC236}">
                <a16:creationId xmlns:a16="http://schemas.microsoft.com/office/drawing/2014/main" id="{027E40BE-816D-46D0-A69E-0C1A7DD8026F}"/>
              </a:ext>
            </a:extLst>
          </p:cNvPr>
          <p:cNvSpPr txBox="1"/>
          <p:nvPr/>
        </p:nvSpPr>
        <p:spPr>
          <a:xfrm>
            <a:off x="10015800" y="6545145"/>
            <a:ext cx="4151521" cy="261610"/>
          </a:xfrm>
          <a:prstGeom prst="rect">
            <a:avLst/>
          </a:prstGeom>
          <a:noFill/>
        </p:spPr>
        <p:txBody>
          <a:bodyPr wrap="square" rtlCol="0">
            <a:spAutoFit/>
          </a:bodyPr>
          <a:lstStyle/>
          <a:p>
            <a:r>
              <a:rPr lang="fi-FI" sz="1100" i="1">
                <a:solidFill>
                  <a:schemeClr val="bg1">
                    <a:lumMod val="65000"/>
                  </a:schemeClr>
                </a:solidFill>
              </a:rPr>
              <a:t>Kuvat: Iin kunta, Sweco.</a:t>
            </a:r>
          </a:p>
        </p:txBody>
      </p:sp>
      <p:pic>
        <p:nvPicPr>
          <p:cNvPr id="10" name="Kuva 9">
            <a:extLst>
              <a:ext uri="{FF2B5EF4-FFF2-40B4-BE49-F238E27FC236}">
                <a16:creationId xmlns:a16="http://schemas.microsoft.com/office/drawing/2014/main" id="{57D60DF9-62F0-4CAC-8523-E02B0DBA7FB0}"/>
              </a:ext>
            </a:extLst>
          </p:cNvPr>
          <p:cNvPicPr>
            <a:picLocks noChangeAspect="1"/>
          </p:cNvPicPr>
          <p:nvPr/>
        </p:nvPicPr>
        <p:blipFill>
          <a:blip r:embed="rId6"/>
          <a:stretch>
            <a:fillRect/>
          </a:stretch>
        </p:blipFill>
        <p:spPr>
          <a:xfrm>
            <a:off x="4673531" y="4563683"/>
            <a:ext cx="2844938" cy="1868176"/>
          </a:xfrm>
          <a:prstGeom prst="rect">
            <a:avLst/>
          </a:prstGeom>
        </p:spPr>
      </p:pic>
      <p:sp>
        <p:nvSpPr>
          <p:cNvPr id="6" name="Tekstiruutu 5">
            <a:extLst>
              <a:ext uri="{FF2B5EF4-FFF2-40B4-BE49-F238E27FC236}">
                <a16:creationId xmlns:a16="http://schemas.microsoft.com/office/drawing/2014/main" id="{D32F0E3F-3ADF-44E5-9345-49064117AD65}"/>
              </a:ext>
            </a:extLst>
          </p:cNvPr>
          <p:cNvSpPr txBox="1"/>
          <p:nvPr/>
        </p:nvSpPr>
        <p:spPr>
          <a:xfrm>
            <a:off x="796738" y="4236943"/>
            <a:ext cx="300093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i-FI" b="1">
                <a:ea typeface="+mn-lt"/>
                <a:cs typeface="+mn-lt"/>
              </a:rPr>
              <a:t>Tilaisuus tallennetaan ja julkaistaan tietoverkossa</a:t>
            </a:r>
            <a:r>
              <a:rPr lang="fi-FI">
                <a:ea typeface="+mn-lt"/>
                <a:cs typeface="+mn-lt"/>
              </a:rPr>
              <a:t> </a:t>
            </a:r>
            <a:endParaRPr lang="fi-FI"/>
          </a:p>
        </p:txBody>
      </p:sp>
    </p:spTree>
    <p:extLst>
      <p:ext uri="{BB962C8B-B14F-4D97-AF65-F5344CB8AC3E}">
        <p14:creationId xmlns:p14="http://schemas.microsoft.com/office/powerpoint/2010/main" val="13994104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975" y="770266"/>
            <a:ext cx="11124701" cy="887413"/>
          </a:xfrm>
        </p:spPr>
        <p:txBody>
          <a:bodyPr anchor="ctr">
            <a:normAutofit/>
          </a:bodyPr>
          <a:lstStyle/>
          <a:p>
            <a:r>
              <a:rPr lang="fi-FI" sz="2400"/>
              <a:t>Otteita taustaselvityksistä: Asemanseudun maankäyttöselvitys</a:t>
            </a: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pic>
        <p:nvPicPr>
          <p:cNvPr id="6" name="Kuva 5">
            <a:extLst>
              <a:ext uri="{FF2B5EF4-FFF2-40B4-BE49-F238E27FC236}">
                <a16:creationId xmlns:a16="http://schemas.microsoft.com/office/drawing/2014/main" id="{E429F2C5-6A4A-4806-ACD8-04D4E9CDF8DC}"/>
              </a:ext>
            </a:extLst>
          </p:cNvPr>
          <p:cNvPicPr>
            <a:picLocks noChangeAspect="1"/>
          </p:cNvPicPr>
          <p:nvPr/>
        </p:nvPicPr>
        <p:blipFill>
          <a:blip r:embed="rId3"/>
          <a:stretch>
            <a:fillRect/>
          </a:stretch>
        </p:blipFill>
        <p:spPr>
          <a:xfrm>
            <a:off x="446769" y="1554593"/>
            <a:ext cx="5455824" cy="3858448"/>
          </a:xfrm>
          <a:prstGeom prst="rect">
            <a:avLst/>
          </a:prstGeom>
        </p:spPr>
      </p:pic>
      <p:pic>
        <p:nvPicPr>
          <p:cNvPr id="7" name="Kuva 6">
            <a:extLst>
              <a:ext uri="{FF2B5EF4-FFF2-40B4-BE49-F238E27FC236}">
                <a16:creationId xmlns:a16="http://schemas.microsoft.com/office/drawing/2014/main" id="{BA4CA80C-42AA-4657-B7A1-C031904F81F6}"/>
              </a:ext>
            </a:extLst>
          </p:cNvPr>
          <p:cNvPicPr>
            <a:picLocks noChangeAspect="1"/>
          </p:cNvPicPr>
          <p:nvPr/>
        </p:nvPicPr>
        <p:blipFill>
          <a:blip r:embed="rId4"/>
          <a:stretch>
            <a:fillRect/>
          </a:stretch>
        </p:blipFill>
        <p:spPr>
          <a:xfrm>
            <a:off x="5902593" y="1554593"/>
            <a:ext cx="5455824" cy="3862430"/>
          </a:xfrm>
          <a:prstGeom prst="rect">
            <a:avLst/>
          </a:prstGeom>
        </p:spPr>
      </p:pic>
      <p:sp>
        <p:nvSpPr>
          <p:cNvPr id="9" name="Tekstiruutu 8">
            <a:extLst>
              <a:ext uri="{FF2B5EF4-FFF2-40B4-BE49-F238E27FC236}">
                <a16:creationId xmlns:a16="http://schemas.microsoft.com/office/drawing/2014/main" id="{810931A3-A407-468A-AA98-0DE2F465EBEA}"/>
              </a:ext>
            </a:extLst>
          </p:cNvPr>
          <p:cNvSpPr txBox="1"/>
          <p:nvPr/>
        </p:nvSpPr>
        <p:spPr>
          <a:xfrm>
            <a:off x="466974" y="5413041"/>
            <a:ext cx="4151521" cy="261610"/>
          </a:xfrm>
          <a:prstGeom prst="rect">
            <a:avLst/>
          </a:prstGeom>
          <a:noFill/>
        </p:spPr>
        <p:txBody>
          <a:bodyPr wrap="square" rtlCol="0">
            <a:spAutoFit/>
          </a:bodyPr>
          <a:lstStyle/>
          <a:p>
            <a:r>
              <a:rPr lang="fi-FI" sz="1100" i="1"/>
              <a:t>Asemanseudun rakenteen vaihtoehtotarkasteluja.</a:t>
            </a:r>
          </a:p>
        </p:txBody>
      </p:sp>
    </p:spTree>
    <p:extLst>
      <p:ext uri="{BB962C8B-B14F-4D97-AF65-F5344CB8AC3E}">
        <p14:creationId xmlns:p14="http://schemas.microsoft.com/office/powerpoint/2010/main" val="2807997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974" y="740301"/>
            <a:ext cx="11124701" cy="887413"/>
          </a:xfrm>
        </p:spPr>
        <p:txBody>
          <a:bodyPr anchor="ctr">
            <a:normAutofit/>
          </a:bodyPr>
          <a:lstStyle/>
          <a:p>
            <a:r>
              <a:rPr lang="fi-FI" sz="2800"/>
              <a:t>Vuorovaikutusmenettelyt</a:t>
            </a:r>
          </a:p>
        </p:txBody>
      </p:sp>
      <p:sp>
        <p:nvSpPr>
          <p:cNvPr id="13" name="Sisällön paikkamerkki 2">
            <a:extLst>
              <a:ext uri="{FF2B5EF4-FFF2-40B4-BE49-F238E27FC236}">
                <a16:creationId xmlns:a16="http://schemas.microsoft.com/office/drawing/2014/main" id="{2448473E-BE74-4D45-AA80-34B03F615A34}"/>
              </a:ext>
            </a:extLst>
          </p:cNvPr>
          <p:cNvSpPr txBox="1">
            <a:spLocks/>
          </p:cNvSpPr>
          <p:nvPr/>
        </p:nvSpPr>
        <p:spPr>
          <a:xfrm>
            <a:off x="533649" y="1654939"/>
            <a:ext cx="5562351" cy="4462760"/>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3pPr>
            <a:lvl4pPr marL="86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9pPr>
          </a:lstStyle>
          <a:p>
            <a:pPr>
              <a:spcAft>
                <a:spcPts val="600"/>
              </a:spcAft>
              <a:buFont typeface="Wingdings" panose="05000000000000000000" pitchFamily="2" charset="2"/>
              <a:buChar char="§"/>
              <a:tabLst>
                <a:tab pos="810260" algn="l"/>
                <a:tab pos="1620520" algn="l"/>
                <a:tab pos="2430780" algn="l"/>
                <a:tab pos="4050665" algn="l"/>
                <a:tab pos="5311140" algn="r"/>
              </a:tabLst>
            </a:pPr>
            <a:r>
              <a:rPr lang="fi-FI" sz="1400">
                <a:solidFill>
                  <a:srgbClr val="000000"/>
                </a:solidFill>
                <a:ea typeface="Times New Roman" panose="02020603050405020304" pitchFamily="18" charset="0"/>
                <a:cs typeface="Times New Roman" panose="02020603050405020304" pitchFamily="18" charset="0"/>
              </a:rPr>
              <a:t>Yleiskaavan </a:t>
            </a:r>
            <a:r>
              <a:rPr lang="fi-FI" sz="1400" b="1">
                <a:solidFill>
                  <a:srgbClr val="000000"/>
                </a:solidFill>
                <a:ea typeface="Times New Roman" panose="02020603050405020304" pitchFamily="18" charset="0"/>
                <a:cs typeface="Times New Roman" panose="02020603050405020304" pitchFamily="18" charset="0"/>
              </a:rPr>
              <a:t>osallistumis- ja arviointisuunnitelma </a:t>
            </a:r>
            <a:r>
              <a:rPr lang="fi-FI" sz="1400">
                <a:solidFill>
                  <a:srgbClr val="000000"/>
                </a:solidFill>
                <a:ea typeface="Times New Roman" panose="02020603050405020304" pitchFamily="18" charset="0"/>
                <a:cs typeface="Times New Roman" panose="02020603050405020304" pitchFamily="18" charset="0"/>
              </a:rPr>
              <a:t>oli nähtävillä syksyllä 2019. Kunnanhallitus hyväksyi vastineet saatuun palautteeseen tammikuussa 2021. </a:t>
            </a:r>
            <a:endParaRPr lang="fi-FI" sz="1400">
              <a:solidFill>
                <a:srgbClr val="000000"/>
              </a:solidFill>
              <a:effectLst/>
              <a:ea typeface="Times New Roman" panose="02020603050405020304" pitchFamily="18" charset="0"/>
              <a:cs typeface="Times New Roman" panose="02020603050405020304" pitchFamily="18" charset="0"/>
            </a:endParaRPr>
          </a:p>
          <a:p>
            <a:pPr>
              <a:spcAft>
                <a:spcPts val="600"/>
              </a:spcAft>
              <a:buFont typeface="Wingdings" panose="05000000000000000000" pitchFamily="2" charset="2"/>
              <a:buChar char="§"/>
              <a:tabLst>
                <a:tab pos="810260" algn="l"/>
                <a:tab pos="1620520" algn="l"/>
                <a:tab pos="2430780" algn="l"/>
                <a:tab pos="4050665" algn="l"/>
                <a:tab pos="5311140" algn="r"/>
              </a:tabLst>
            </a:pPr>
            <a:r>
              <a:rPr lang="fi-FI" sz="1400">
                <a:solidFill>
                  <a:srgbClr val="000000"/>
                </a:solidFill>
                <a:effectLst/>
                <a:ea typeface="Times New Roman" panose="02020603050405020304" pitchFamily="18" charset="0"/>
                <a:cs typeface="Times New Roman" panose="02020603050405020304" pitchFamily="18" charset="0"/>
              </a:rPr>
              <a:t>Yleiskaavaa on työstetty </a:t>
            </a:r>
            <a:r>
              <a:rPr lang="fi-FI" sz="1400" b="1">
                <a:solidFill>
                  <a:srgbClr val="000000"/>
                </a:solidFill>
                <a:effectLst/>
                <a:ea typeface="Times New Roman" panose="02020603050405020304" pitchFamily="18" charset="0"/>
                <a:cs typeface="Times New Roman" panose="02020603050405020304" pitchFamily="18" charset="0"/>
              </a:rPr>
              <a:t>kahdessa työpajassa</a:t>
            </a:r>
            <a:r>
              <a:rPr lang="fi-FI" sz="1400">
                <a:solidFill>
                  <a:srgbClr val="000000"/>
                </a:solidFill>
                <a:effectLst/>
                <a:ea typeface="Times New Roman" panose="02020603050405020304" pitchFamily="18" charset="0"/>
                <a:cs typeface="Times New Roman" panose="02020603050405020304" pitchFamily="18" charset="0"/>
              </a:rPr>
              <a:t>. Ensimmäisessä työpajassa määriteltiin kaavan tavoitteita. Toisessa käytiin läpi laadittujen rakennemallien ja niiden pohjalta johdettujen väittämien kautta läpi eri kehittämistavoitteiden toteuttamista kunnan eri osissa. </a:t>
            </a:r>
            <a:endParaRPr lang="fi-FI" sz="1400">
              <a:effectLst/>
              <a:ea typeface="Times New Roman" panose="02020603050405020304" pitchFamily="18" charset="0"/>
              <a:cs typeface="Times New Roman" panose="02020603050405020304" pitchFamily="18" charset="0"/>
            </a:endParaRPr>
          </a:p>
          <a:p>
            <a:pPr>
              <a:spcAft>
                <a:spcPts val="600"/>
              </a:spcAft>
              <a:buFont typeface="Wingdings" panose="05000000000000000000" pitchFamily="2" charset="2"/>
              <a:buChar char="§"/>
              <a:tabLst>
                <a:tab pos="810260" algn="l"/>
                <a:tab pos="1620520" algn="l"/>
                <a:tab pos="2430780" algn="l"/>
                <a:tab pos="4050665" algn="l"/>
                <a:tab pos="5311140" algn="r"/>
              </a:tabLst>
            </a:pPr>
            <a:r>
              <a:rPr lang="fi-FI" sz="1400" b="1">
                <a:solidFill>
                  <a:srgbClr val="000000"/>
                </a:solidFill>
                <a:effectLst/>
                <a:ea typeface="Times New Roman" panose="02020603050405020304" pitchFamily="18" charset="0"/>
                <a:cs typeface="Times New Roman" panose="02020603050405020304" pitchFamily="18" charset="0"/>
              </a:rPr>
              <a:t>Kaikille kuntalaisille avoin kysely toteutettiin osana NordGreen-hanketta</a:t>
            </a:r>
            <a:r>
              <a:rPr lang="fi-FI" sz="1400">
                <a:solidFill>
                  <a:srgbClr val="000000"/>
                </a:solidFill>
                <a:effectLst/>
                <a:ea typeface="Times New Roman" panose="02020603050405020304" pitchFamily="18" charset="0"/>
                <a:cs typeface="Times New Roman" panose="02020603050405020304" pitchFamily="18" charset="0"/>
              </a:rPr>
              <a:t>. Vastauksissa korostuivat reittien, virkistysrakenteiden ja ranta-alueiden kehittämiseen liittyvät toiveet ja tarpeet. Kyselyn tuloksia on hyödynnetty yleiskaavan laadinnassa. </a:t>
            </a:r>
            <a:endParaRPr lang="fi-FI" sz="1400">
              <a:effectLst/>
              <a:ea typeface="Times New Roman" panose="02020603050405020304" pitchFamily="18" charset="0"/>
              <a:cs typeface="Times New Roman" panose="02020603050405020304" pitchFamily="18" charset="0"/>
            </a:endParaRPr>
          </a:p>
          <a:p>
            <a:pPr>
              <a:spcAft>
                <a:spcPts val="600"/>
              </a:spcAft>
              <a:buFont typeface="Wingdings" panose="05000000000000000000" pitchFamily="2" charset="2"/>
              <a:buChar char="§"/>
              <a:tabLst>
                <a:tab pos="810260" algn="l"/>
                <a:tab pos="1620520" algn="l"/>
                <a:tab pos="2430780" algn="l"/>
                <a:tab pos="4050665" algn="l"/>
                <a:tab pos="5311140" algn="r"/>
              </a:tabLst>
            </a:pPr>
            <a:r>
              <a:rPr lang="fi-FI" sz="1400">
                <a:solidFill>
                  <a:srgbClr val="000000"/>
                </a:solidFill>
                <a:effectLst/>
                <a:ea typeface="Times New Roman" panose="02020603050405020304" pitchFamily="18" charset="0"/>
                <a:cs typeface="Times New Roman" panose="02020603050405020304" pitchFamily="18" charset="0"/>
              </a:rPr>
              <a:t>Lisäksi kaavaan liittyen toteutettiin kesällä 2021 järjestettyjen kunnallisvaalien ehdokkaille </a:t>
            </a:r>
            <a:r>
              <a:rPr lang="fi-FI" sz="1400" b="1">
                <a:solidFill>
                  <a:srgbClr val="000000"/>
                </a:solidFill>
                <a:effectLst/>
                <a:ea typeface="Times New Roman" panose="02020603050405020304" pitchFamily="18" charset="0"/>
                <a:cs typeface="Times New Roman" panose="02020603050405020304" pitchFamily="18" charset="0"/>
              </a:rPr>
              <a:t>kysely</a:t>
            </a:r>
            <a:r>
              <a:rPr lang="fi-FI" sz="1400">
                <a:solidFill>
                  <a:srgbClr val="000000"/>
                </a:solidFill>
                <a:effectLst/>
                <a:ea typeface="Times New Roman" panose="02020603050405020304" pitchFamily="18" charset="0"/>
                <a:cs typeface="Times New Roman" panose="02020603050405020304" pitchFamily="18" charset="0"/>
              </a:rPr>
              <a:t>, jossa kartoitettiin Iin maankäytön kehittämiseen liittyviä tavoitteita.</a:t>
            </a:r>
            <a:endParaRPr lang="fi-FI" sz="1400">
              <a:effectLst/>
              <a:ea typeface="Times New Roman" panose="02020603050405020304" pitchFamily="18" charset="0"/>
              <a:cs typeface="Times New Roman" panose="02020603050405020304" pitchFamily="18" charset="0"/>
            </a:endParaRPr>
          </a:p>
          <a:p>
            <a:pPr>
              <a:spcAft>
                <a:spcPts val="600"/>
              </a:spcAft>
              <a:buFont typeface="Wingdings" panose="05000000000000000000" pitchFamily="2" charset="2"/>
              <a:buChar char="§"/>
              <a:tabLst>
                <a:tab pos="810260" algn="l"/>
                <a:tab pos="1620520" algn="l"/>
                <a:tab pos="2430780" algn="l"/>
                <a:tab pos="4050665" algn="l"/>
                <a:tab pos="5311140" algn="r"/>
              </a:tabLst>
            </a:pPr>
            <a:r>
              <a:rPr lang="fi-FI" sz="1400">
                <a:solidFill>
                  <a:srgbClr val="000000"/>
                </a:solidFill>
                <a:effectLst/>
                <a:ea typeface="Times New Roman" panose="02020603050405020304" pitchFamily="18" charset="0"/>
                <a:cs typeface="Times New Roman" panose="02020603050405020304" pitchFamily="18" charset="0"/>
              </a:rPr>
              <a:t>Asemanseutua koskevia kehittämistavoitteita työstettiin </a:t>
            </a:r>
            <a:r>
              <a:rPr lang="fi-FI" sz="1400" b="1">
                <a:solidFill>
                  <a:srgbClr val="000000"/>
                </a:solidFill>
                <a:effectLst/>
                <a:ea typeface="Times New Roman" panose="02020603050405020304" pitchFamily="18" charset="0"/>
                <a:cs typeface="Times New Roman" panose="02020603050405020304" pitchFamily="18" charset="0"/>
              </a:rPr>
              <a:t>omassa työpajassaan</a:t>
            </a:r>
            <a:r>
              <a:rPr lang="fi-FI" sz="1400">
                <a:solidFill>
                  <a:srgbClr val="000000"/>
                </a:solidFill>
                <a:effectLst/>
                <a:ea typeface="Times New Roman" panose="02020603050405020304" pitchFamily="18" charset="0"/>
                <a:cs typeface="Times New Roman" panose="02020603050405020304" pitchFamily="18" charset="0"/>
              </a:rPr>
              <a:t>.</a:t>
            </a:r>
          </a:p>
          <a:p>
            <a:pPr>
              <a:spcAft>
                <a:spcPts val="600"/>
              </a:spcAft>
              <a:buFont typeface="Wingdings" panose="05000000000000000000" pitchFamily="2" charset="2"/>
              <a:buChar char="§"/>
              <a:tabLst>
                <a:tab pos="810260" algn="l"/>
                <a:tab pos="1620520" algn="l"/>
                <a:tab pos="2430780" algn="l"/>
                <a:tab pos="4050665" algn="l"/>
                <a:tab pos="5311140" algn="r"/>
              </a:tabLst>
            </a:pPr>
            <a:r>
              <a:rPr lang="fi-FI" sz="1400">
                <a:solidFill>
                  <a:srgbClr val="000000"/>
                </a:solidFill>
                <a:effectLst/>
                <a:ea typeface="Times New Roman" panose="02020603050405020304" pitchFamily="18" charset="0"/>
                <a:cs typeface="Times New Roman" panose="02020603050405020304" pitchFamily="18" charset="0"/>
              </a:rPr>
              <a:t>Kaavan </a:t>
            </a:r>
            <a:r>
              <a:rPr lang="fi-FI" sz="1400" b="1">
                <a:solidFill>
                  <a:srgbClr val="000000"/>
                </a:solidFill>
                <a:effectLst/>
                <a:ea typeface="Times New Roman" panose="02020603050405020304" pitchFamily="18" charset="0"/>
                <a:cs typeface="Times New Roman" panose="02020603050405020304" pitchFamily="18" charset="0"/>
              </a:rPr>
              <a:t>1.viranomaisneuvottelu </a:t>
            </a:r>
            <a:r>
              <a:rPr lang="fi-FI" sz="1400">
                <a:solidFill>
                  <a:srgbClr val="000000"/>
                </a:solidFill>
                <a:effectLst/>
                <a:ea typeface="Times New Roman" panose="02020603050405020304" pitchFamily="18" charset="0"/>
                <a:cs typeface="Times New Roman" panose="02020603050405020304" pitchFamily="18" charset="0"/>
              </a:rPr>
              <a:t>pidettiin alkuvuonna 2021. Viranomaisilta pyydetään kuulemisten yhteydess</a:t>
            </a:r>
            <a:r>
              <a:rPr lang="fi-FI" sz="1400">
                <a:solidFill>
                  <a:srgbClr val="000000"/>
                </a:solidFill>
                <a:ea typeface="Times New Roman" panose="02020603050405020304" pitchFamily="18" charset="0"/>
                <a:cs typeface="Times New Roman" panose="02020603050405020304" pitchFamily="18" charset="0"/>
              </a:rPr>
              <a:t>ä tarvittavat lausunnot. </a:t>
            </a:r>
            <a:endParaRPr lang="fi-FI" sz="1400">
              <a:effectLst/>
              <a:ea typeface="Times New Roman" panose="02020603050405020304" pitchFamily="18" charset="0"/>
              <a:cs typeface="Times New Roman" panose="02020603050405020304" pitchFamily="18" charset="0"/>
            </a:endParaRP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sp>
        <p:nvSpPr>
          <p:cNvPr id="6" name="Tekstiruutu 5">
            <a:extLst>
              <a:ext uri="{FF2B5EF4-FFF2-40B4-BE49-F238E27FC236}">
                <a16:creationId xmlns:a16="http://schemas.microsoft.com/office/drawing/2014/main" id="{F308BD83-507E-40E1-87B6-338491A2EF56}"/>
              </a:ext>
            </a:extLst>
          </p:cNvPr>
          <p:cNvSpPr txBox="1"/>
          <p:nvPr/>
        </p:nvSpPr>
        <p:spPr>
          <a:xfrm>
            <a:off x="6564574" y="1627714"/>
            <a:ext cx="5160452" cy="2535374"/>
          </a:xfrm>
          <a:prstGeom prst="rect">
            <a:avLst/>
          </a:prstGeom>
          <a:noFill/>
        </p:spPr>
        <p:txBody>
          <a:bodyPr wrap="square">
            <a:spAutoFit/>
          </a:bodyPr>
          <a:lstStyle/>
          <a:p>
            <a:pPr>
              <a:spcAft>
                <a:spcPts val="600"/>
              </a:spcAft>
              <a:tabLst>
                <a:tab pos="810260" algn="l"/>
                <a:tab pos="1620520" algn="l"/>
                <a:tab pos="2430780" algn="l"/>
                <a:tab pos="4050665" algn="l"/>
                <a:tab pos="5311140" algn="r"/>
              </a:tabLst>
            </a:pPr>
            <a:r>
              <a:rPr lang="fi-FI" sz="1400">
                <a:solidFill>
                  <a:srgbClr val="000000"/>
                </a:solidFill>
                <a:effectLst/>
                <a:ea typeface="Times New Roman" panose="02020603050405020304" pitchFamily="18" charset="0"/>
                <a:cs typeface="Times New Roman" panose="02020603050405020304" pitchFamily="18" charset="0"/>
              </a:rPr>
              <a:t>Kaavatyötä on ohjannut kunnanhallituksen nimeämä </a:t>
            </a:r>
            <a:r>
              <a:rPr lang="fi-FI" sz="1400" b="1">
                <a:solidFill>
                  <a:srgbClr val="000000"/>
                </a:solidFill>
                <a:effectLst/>
                <a:ea typeface="Times New Roman" panose="02020603050405020304" pitchFamily="18" charset="0"/>
                <a:cs typeface="Times New Roman" panose="02020603050405020304" pitchFamily="18" charset="0"/>
              </a:rPr>
              <a:t>ohjausryhmä</a:t>
            </a:r>
            <a:r>
              <a:rPr lang="fi-FI" sz="1400">
                <a:solidFill>
                  <a:srgbClr val="000000"/>
                </a:solidFill>
                <a:effectLst/>
                <a:ea typeface="Times New Roman" panose="02020603050405020304" pitchFamily="18" charset="0"/>
                <a:cs typeface="Times New Roman" panose="02020603050405020304" pitchFamily="18" charset="0"/>
              </a:rPr>
              <a:t>. Ryhmä on kokoontunut useita kertoja kaavan laadinnan aikana. Ohjausryhmän kokoonpano:</a:t>
            </a:r>
            <a:endParaRPr lang="fi-FI" sz="1400">
              <a:effectLst/>
              <a:ea typeface="Times New Roman" panose="02020603050405020304" pitchFamily="18" charset="0"/>
              <a:cs typeface="Times New Roman" panose="02020603050405020304" pitchFamily="18" charset="0"/>
            </a:endParaRPr>
          </a:p>
          <a:p>
            <a:pPr marL="342900" lvl="0" indent="-342900" algn="l">
              <a:lnSpc>
                <a:spcPct val="115000"/>
              </a:lnSpc>
              <a:buFont typeface="Wingdings" panose="05000000000000000000" pitchFamily="2" charset="2"/>
              <a:buChar char=""/>
            </a:pPr>
            <a:r>
              <a:rPr lang="fi-FI" sz="1400">
                <a:solidFill>
                  <a:srgbClr val="0070C0"/>
                </a:solidFill>
                <a:effectLst/>
                <a:ea typeface="Calibri" panose="020F0502020204030204" pitchFamily="34" charset="0"/>
                <a:cs typeface="Times New Roman" panose="02020603050405020304" pitchFamily="18" charset="0"/>
              </a:rPr>
              <a:t>Kunnanhallituksen ja kunnanvaltuuston puheenjohtajat</a:t>
            </a:r>
            <a:endParaRPr lang="fi-FI" sz="1400">
              <a:effectLst/>
              <a:ea typeface="Calibri" panose="020F0502020204030204" pitchFamily="34" charset="0"/>
              <a:cs typeface="Times New Roman" panose="02020603050405020304" pitchFamily="18" charset="0"/>
            </a:endParaRPr>
          </a:p>
          <a:p>
            <a:pPr marL="342900" lvl="0" indent="-342900" algn="l">
              <a:lnSpc>
                <a:spcPct val="115000"/>
              </a:lnSpc>
              <a:buFont typeface="Wingdings" panose="05000000000000000000" pitchFamily="2" charset="2"/>
              <a:buChar char=""/>
            </a:pPr>
            <a:r>
              <a:rPr lang="fi-FI" sz="1400">
                <a:solidFill>
                  <a:srgbClr val="0070C0"/>
                </a:solidFill>
                <a:effectLst/>
                <a:ea typeface="Calibri" panose="020F0502020204030204" pitchFamily="34" charset="0"/>
                <a:cs typeface="Times New Roman" panose="02020603050405020304" pitchFamily="18" charset="0"/>
              </a:rPr>
              <a:t>Kunnan maapoliittinen jaosto</a:t>
            </a:r>
            <a:endParaRPr lang="fi-FI" sz="1400">
              <a:effectLst/>
              <a:ea typeface="Calibri" panose="020F0502020204030204" pitchFamily="34" charset="0"/>
              <a:cs typeface="Times New Roman" panose="02020603050405020304" pitchFamily="18" charset="0"/>
            </a:endParaRPr>
          </a:p>
          <a:p>
            <a:pPr marL="342900" lvl="0" indent="-342900" algn="l">
              <a:lnSpc>
                <a:spcPct val="115000"/>
              </a:lnSpc>
              <a:buFont typeface="Wingdings" panose="05000000000000000000" pitchFamily="2" charset="2"/>
              <a:buChar char=""/>
            </a:pPr>
            <a:r>
              <a:rPr lang="fi-FI" sz="1400">
                <a:solidFill>
                  <a:srgbClr val="0070C0"/>
                </a:solidFill>
                <a:effectLst/>
                <a:ea typeface="Calibri" panose="020F0502020204030204" pitchFamily="34" charset="0"/>
                <a:cs typeface="Times New Roman" panose="02020603050405020304" pitchFamily="18" charset="0"/>
              </a:rPr>
              <a:t>Kylien neuvottelukunnan puheenjohtaja</a:t>
            </a:r>
            <a:endParaRPr lang="fi-FI" sz="1400">
              <a:effectLst/>
              <a:ea typeface="Calibri" panose="020F0502020204030204" pitchFamily="34" charset="0"/>
              <a:cs typeface="Times New Roman" panose="02020603050405020304" pitchFamily="18" charset="0"/>
            </a:endParaRPr>
          </a:p>
          <a:p>
            <a:pPr marL="342900" lvl="0" indent="-342900" algn="l">
              <a:lnSpc>
                <a:spcPct val="115000"/>
              </a:lnSpc>
              <a:buFont typeface="Wingdings" panose="05000000000000000000" pitchFamily="2" charset="2"/>
              <a:buChar char=""/>
            </a:pPr>
            <a:r>
              <a:rPr lang="fi-FI" sz="1400">
                <a:solidFill>
                  <a:srgbClr val="0070C0"/>
                </a:solidFill>
                <a:effectLst/>
                <a:ea typeface="Calibri" panose="020F0502020204030204" pitchFamily="34" charset="0"/>
                <a:cs typeface="Times New Roman" panose="02020603050405020304" pitchFamily="18" charset="0"/>
              </a:rPr>
              <a:t>Pohjois-Pohjanmaan liitto</a:t>
            </a:r>
            <a:endParaRPr lang="fi-FI" sz="1400">
              <a:effectLst/>
              <a:ea typeface="Calibri" panose="020F0502020204030204" pitchFamily="34" charset="0"/>
              <a:cs typeface="Times New Roman" panose="02020603050405020304" pitchFamily="18" charset="0"/>
            </a:endParaRPr>
          </a:p>
          <a:p>
            <a:pPr marL="342900" lvl="0" indent="-342900" algn="l">
              <a:lnSpc>
                <a:spcPct val="115000"/>
              </a:lnSpc>
              <a:buFont typeface="Wingdings" panose="05000000000000000000" pitchFamily="2" charset="2"/>
              <a:buChar char=""/>
            </a:pPr>
            <a:r>
              <a:rPr lang="fi-FI" sz="1400">
                <a:solidFill>
                  <a:srgbClr val="0070C0"/>
                </a:solidFill>
                <a:effectLst/>
                <a:ea typeface="Calibri" panose="020F0502020204030204" pitchFamily="34" charset="0"/>
                <a:cs typeface="Times New Roman" panose="02020603050405020304" pitchFamily="18" charset="0"/>
              </a:rPr>
              <a:t>Pohjois-Pohjanmaan museo</a:t>
            </a:r>
            <a:endParaRPr lang="fi-FI" sz="1400">
              <a:effectLst/>
              <a:ea typeface="Calibri" panose="020F0502020204030204" pitchFamily="34" charset="0"/>
              <a:cs typeface="Times New Roman" panose="02020603050405020304" pitchFamily="18" charset="0"/>
            </a:endParaRPr>
          </a:p>
          <a:p>
            <a:pPr marL="342900" lvl="0" indent="-342900" algn="l">
              <a:lnSpc>
                <a:spcPct val="115000"/>
              </a:lnSpc>
              <a:buFont typeface="Wingdings" panose="05000000000000000000" pitchFamily="2" charset="2"/>
              <a:buChar char=""/>
            </a:pPr>
            <a:r>
              <a:rPr lang="fi-FI" sz="1400">
                <a:solidFill>
                  <a:srgbClr val="0070C0"/>
                </a:solidFill>
                <a:effectLst/>
                <a:ea typeface="Calibri" panose="020F0502020204030204" pitchFamily="34" charset="0"/>
                <a:cs typeface="Times New Roman" panose="02020603050405020304" pitchFamily="18" charset="0"/>
              </a:rPr>
              <a:t>Metsähallitus</a:t>
            </a:r>
            <a:endParaRPr lang="fi-FI" sz="1400">
              <a:effectLst/>
              <a:ea typeface="Calibri" panose="020F0502020204030204" pitchFamily="34" charset="0"/>
              <a:cs typeface="Times New Roman" panose="02020603050405020304" pitchFamily="18" charset="0"/>
            </a:endParaRPr>
          </a:p>
          <a:p>
            <a:pPr marL="342900" lvl="0" indent="-342900" algn="l">
              <a:lnSpc>
                <a:spcPct val="115000"/>
              </a:lnSpc>
              <a:buFont typeface="Wingdings" panose="05000000000000000000" pitchFamily="2" charset="2"/>
              <a:buChar char=""/>
            </a:pPr>
            <a:r>
              <a:rPr lang="fi-FI" sz="1400">
                <a:solidFill>
                  <a:srgbClr val="0070C0"/>
                </a:solidFill>
                <a:effectLst/>
                <a:ea typeface="Calibri" panose="020F0502020204030204" pitchFamily="34" charset="0"/>
                <a:cs typeface="Times New Roman" panose="02020603050405020304" pitchFamily="18" charset="0"/>
              </a:rPr>
              <a:t>Väylävirasto</a:t>
            </a:r>
            <a:endParaRPr lang="fi-FI" sz="1400">
              <a:effectLst/>
              <a:ea typeface="Calibri" panose="020F0502020204030204" pitchFamily="34" charset="0"/>
              <a:cs typeface="Times New Roman" panose="02020603050405020304" pitchFamily="18" charset="0"/>
            </a:endParaRPr>
          </a:p>
        </p:txBody>
      </p:sp>
      <p:pic>
        <p:nvPicPr>
          <p:cNvPr id="5" name="Kuva 4">
            <a:extLst>
              <a:ext uri="{FF2B5EF4-FFF2-40B4-BE49-F238E27FC236}">
                <a16:creationId xmlns:a16="http://schemas.microsoft.com/office/drawing/2014/main" id="{ED01980A-5618-434C-BC0B-30E7BEED2320}"/>
              </a:ext>
            </a:extLst>
          </p:cNvPr>
          <p:cNvPicPr>
            <a:picLocks noChangeAspect="1"/>
          </p:cNvPicPr>
          <p:nvPr/>
        </p:nvPicPr>
        <p:blipFill>
          <a:blip r:embed="rId3"/>
          <a:stretch>
            <a:fillRect/>
          </a:stretch>
        </p:blipFill>
        <p:spPr>
          <a:xfrm>
            <a:off x="6564574" y="4301304"/>
            <a:ext cx="4023709" cy="2176461"/>
          </a:xfrm>
          <a:prstGeom prst="rect">
            <a:avLst/>
          </a:prstGeom>
        </p:spPr>
      </p:pic>
    </p:spTree>
    <p:extLst>
      <p:ext uri="{BB962C8B-B14F-4D97-AF65-F5344CB8AC3E}">
        <p14:creationId xmlns:p14="http://schemas.microsoft.com/office/powerpoint/2010/main" val="10120344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292" y="1734590"/>
            <a:ext cx="3877393" cy="887413"/>
          </a:xfrm>
        </p:spPr>
        <p:txBody>
          <a:bodyPr anchor="ctr">
            <a:normAutofit/>
          </a:bodyPr>
          <a:lstStyle/>
          <a:p>
            <a:pPr>
              <a:lnSpc>
                <a:spcPct val="115000"/>
              </a:lnSpc>
              <a:spcBef>
                <a:spcPts val="500"/>
              </a:spcBef>
              <a:tabLst>
                <a:tab pos="810260" algn="l"/>
                <a:tab pos="1620520" algn="l"/>
                <a:tab pos="2430780" algn="l"/>
                <a:tab pos="4050665" algn="l"/>
                <a:tab pos="5311140" algn="r"/>
                <a:tab pos="828040" algn="l"/>
              </a:tabLst>
            </a:pPr>
            <a:r>
              <a:rPr lang="fi-FI" sz="1100" b="1">
                <a:solidFill>
                  <a:srgbClr val="009900"/>
                </a:solidFill>
                <a:effectLst/>
                <a:latin typeface="Calibri" panose="020F0502020204030204" pitchFamily="34" charset="0"/>
                <a:ea typeface="Times New Roman" panose="02020603050405020304" pitchFamily="18" charset="0"/>
                <a:cs typeface="Times New Roman" panose="02020603050405020304" pitchFamily="18" charset="0"/>
              </a:rPr>
              <a:t>VAIHTOEHTO 1. ”LUONNOLLINEN”</a:t>
            </a:r>
            <a:br>
              <a:rPr lang="fi-FI" sz="1100">
                <a:effectLst/>
                <a:latin typeface="Calibri" panose="020F0502020204030204" pitchFamily="34" charset="0"/>
                <a:ea typeface="Times New Roman" panose="02020603050405020304" pitchFamily="18" charset="0"/>
                <a:cs typeface="Times New Roman" panose="02020603050405020304" pitchFamily="18" charset="0"/>
              </a:rPr>
            </a:br>
            <a:r>
              <a:rPr lang="fi-FI" sz="1100" b="1">
                <a:latin typeface="Calibri" panose="020F0502020204030204" pitchFamily="34" charset="0"/>
                <a:cs typeface="Times New Roman" panose="02020603050405020304" pitchFamily="18" charset="0"/>
              </a:rPr>
              <a:t>Vaihtoehdossa korostuu kunnan kehittäminen luonnon, maiseman luonteen ja kulttuuriympäristön ehdoilla. </a:t>
            </a: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3"/>
          <a:stretch>
            <a:fillRect/>
          </a:stretch>
        </p:blipFill>
        <p:spPr>
          <a:xfrm>
            <a:off x="466974" y="259010"/>
            <a:ext cx="1604422" cy="412865"/>
          </a:xfrm>
          <a:prstGeom prst="rect">
            <a:avLst/>
          </a:prstGeom>
        </p:spPr>
      </p:pic>
      <p:pic>
        <p:nvPicPr>
          <p:cNvPr id="3" name="Kuva 2">
            <a:extLst>
              <a:ext uri="{FF2B5EF4-FFF2-40B4-BE49-F238E27FC236}">
                <a16:creationId xmlns:a16="http://schemas.microsoft.com/office/drawing/2014/main" id="{9DCD19CF-39DF-4132-B8E4-1B93DDB6E9F6}"/>
              </a:ext>
            </a:extLst>
          </p:cNvPr>
          <p:cNvPicPr>
            <a:picLocks noChangeAspect="1"/>
          </p:cNvPicPr>
          <p:nvPr/>
        </p:nvPicPr>
        <p:blipFill>
          <a:blip r:embed="rId4"/>
          <a:stretch>
            <a:fillRect/>
          </a:stretch>
        </p:blipFill>
        <p:spPr>
          <a:xfrm>
            <a:off x="351161" y="2760112"/>
            <a:ext cx="3877392" cy="2993395"/>
          </a:xfrm>
          <a:prstGeom prst="rect">
            <a:avLst/>
          </a:prstGeom>
        </p:spPr>
      </p:pic>
      <p:pic>
        <p:nvPicPr>
          <p:cNvPr id="5" name="Kuva 4">
            <a:extLst>
              <a:ext uri="{FF2B5EF4-FFF2-40B4-BE49-F238E27FC236}">
                <a16:creationId xmlns:a16="http://schemas.microsoft.com/office/drawing/2014/main" id="{8BBBAB09-2975-4CFF-8898-B6BB9ABFE3E3}"/>
              </a:ext>
            </a:extLst>
          </p:cNvPr>
          <p:cNvPicPr>
            <a:picLocks noChangeAspect="1"/>
          </p:cNvPicPr>
          <p:nvPr/>
        </p:nvPicPr>
        <p:blipFill>
          <a:blip r:embed="rId5"/>
          <a:stretch>
            <a:fillRect/>
          </a:stretch>
        </p:blipFill>
        <p:spPr>
          <a:xfrm>
            <a:off x="4318017" y="2825639"/>
            <a:ext cx="4090771" cy="2950720"/>
          </a:xfrm>
          <a:prstGeom prst="rect">
            <a:avLst/>
          </a:prstGeom>
        </p:spPr>
      </p:pic>
      <p:pic>
        <p:nvPicPr>
          <p:cNvPr id="6" name="Kuva 5">
            <a:extLst>
              <a:ext uri="{FF2B5EF4-FFF2-40B4-BE49-F238E27FC236}">
                <a16:creationId xmlns:a16="http://schemas.microsoft.com/office/drawing/2014/main" id="{0B6BFA68-2AC3-4142-BC80-FED26F92FADD}"/>
              </a:ext>
            </a:extLst>
          </p:cNvPr>
          <p:cNvPicPr>
            <a:picLocks noChangeAspect="1"/>
          </p:cNvPicPr>
          <p:nvPr/>
        </p:nvPicPr>
        <p:blipFill>
          <a:blip r:embed="rId6"/>
          <a:stretch>
            <a:fillRect/>
          </a:stretch>
        </p:blipFill>
        <p:spPr>
          <a:xfrm>
            <a:off x="8357800" y="2944046"/>
            <a:ext cx="3709562" cy="2890136"/>
          </a:xfrm>
          <a:prstGeom prst="rect">
            <a:avLst/>
          </a:prstGeom>
        </p:spPr>
      </p:pic>
      <p:sp>
        <p:nvSpPr>
          <p:cNvPr id="8" name="Sisällön paikkamerkki 2">
            <a:extLst>
              <a:ext uri="{FF2B5EF4-FFF2-40B4-BE49-F238E27FC236}">
                <a16:creationId xmlns:a16="http://schemas.microsoft.com/office/drawing/2014/main" id="{7400CC01-E04A-46F7-B63B-8535AE5467AA}"/>
              </a:ext>
            </a:extLst>
          </p:cNvPr>
          <p:cNvSpPr txBox="1">
            <a:spLocks/>
          </p:cNvSpPr>
          <p:nvPr/>
        </p:nvSpPr>
        <p:spPr>
          <a:xfrm>
            <a:off x="479292" y="1275220"/>
            <a:ext cx="8405806" cy="1073082"/>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3pPr>
            <a:lvl4pPr marL="86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9pPr>
          </a:lstStyle>
          <a:p>
            <a:pPr marL="0" indent="0">
              <a:buNone/>
            </a:pPr>
            <a:r>
              <a:rPr lang="fi-FI" sz="1400">
                <a:effectLst/>
                <a:ea typeface="Times New Roman" panose="02020603050405020304" pitchFamily="18" charset="0"/>
                <a:cs typeface="Times New Roman" panose="02020603050405020304" pitchFamily="18" charset="0"/>
              </a:rPr>
              <a:t>Lähtötietojen, laadittujen selvitysten ja vuorovaikutuksen pohjalta laadittiin kolme vaihtoehtoista rakennemallia yleiskaavan pohjaksi. </a:t>
            </a:r>
            <a:endParaRPr lang="fi-FI" sz="1200" b="1"/>
          </a:p>
        </p:txBody>
      </p:sp>
      <p:sp>
        <p:nvSpPr>
          <p:cNvPr id="11" name="Title 1">
            <a:extLst>
              <a:ext uri="{FF2B5EF4-FFF2-40B4-BE49-F238E27FC236}">
                <a16:creationId xmlns:a16="http://schemas.microsoft.com/office/drawing/2014/main" id="{C987E921-1C8D-4AE1-9ADF-D57CC484104C}"/>
              </a:ext>
            </a:extLst>
          </p:cNvPr>
          <p:cNvSpPr txBox="1">
            <a:spLocks/>
          </p:cNvSpPr>
          <p:nvPr/>
        </p:nvSpPr>
        <p:spPr>
          <a:xfrm>
            <a:off x="8357800" y="1740026"/>
            <a:ext cx="3877393" cy="887413"/>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200" kern="1200" cap="none" baseline="0">
                <a:solidFill>
                  <a:schemeClr val="tx1"/>
                </a:solidFill>
                <a:latin typeface="+mj-lt"/>
                <a:ea typeface="+mj-ea"/>
                <a:cs typeface="+mj-cs"/>
              </a:defRPr>
            </a:lvl1pPr>
          </a:lstStyle>
          <a:p>
            <a:pPr>
              <a:lnSpc>
                <a:spcPct val="115000"/>
              </a:lnSpc>
              <a:spcBef>
                <a:spcPts val="500"/>
              </a:spcBef>
              <a:spcAft>
                <a:spcPts val="1000"/>
              </a:spcAft>
              <a:tabLst>
                <a:tab pos="810260" algn="l"/>
                <a:tab pos="1620520" algn="l"/>
                <a:tab pos="2430780" algn="l"/>
                <a:tab pos="4050665" algn="l"/>
                <a:tab pos="5311140" algn="r"/>
                <a:tab pos="828040" algn="l"/>
              </a:tabLst>
            </a:pPr>
            <a:r>
              <a:rPr lang="fi-FI" sz="1100" b="1">
                <a:solidFill>
                  <a:srgbClr val="0070C0"/>
                </a:solidFill>
                <a:latin typeface="Calibri" panose="020F0502020204030204" pitchFamily="34" charset="0"/>
                <a:ea typeface="Times New Roman" panose="02020603050405020304" pitchFamily="18" charset="0"/>
                <a:cs typeface="Times New Roman" panose="02020603050405020304" pitchFamily="18" charset="0"/>
              </a:rPr>
              <a:t>VAIHTOEHTO 3. ”ENERGINEN”</a:t>
            </a:r>
            <a:br>
              <a:rPr lang="fi-FI" sz="1100">
                <a:latin typeface="Calibri" panose="020F0502020204030204" pitchFamily="34" charset="0"/>
                <a:ea typeface="Times New Roman" panose="02020603050405020304" pitchFamily="18" charset="0"/>
                <a:cs typeface="Times New Roman" panose="02020603050405020304" pitchFamily="18" charset="0"/>
              </a:rPr>
            </a:br>
            <a:r>
              <a:rPr lang="fi-FI" sz="1100" b="1">
                <a:latin typeface="Calibri" panose="020F0502020204030204" pitchFamily="34" charset="0"/>
                <a:ea typeface="Times New Roman" panose="02020603050405020304" pitchFamily="18" charset="0"/>
                <a:cs typeface="Times New Roman" panose="02020603050405020304" pitchFamily="18" charset="0"/>
              </a:rPr>
              <a:t>Vaihtoehto pohjautuu uusien elinkeinojen kehittymiseen ja kasvavaan energiantuotantoon.</a:t>
            </a:r>
            <a:r>
              <a:rPr lang="fi-FI" sz="1100">
                <a:latin typeface="Calibri" panose="020F0502020204030204" pitchFamily="34" charset="0"/>
                <a:ea typeface="Times New Roman" panose="02020603050405020304" pitchFamily="18" charset="0"/>
                <a:cs typeface="Times New Roman" panose="02020603050405020304" pitchFamily="18" charset="0"/>
              </a:rPr>
              <a:t> </a:t>
            </a:r>
          </a:p>
        </p:txBody>
      </p:sp>
      <p:sp>
        <p:nvSpPr>
          <p:cNvPr id="12" name="Title 1">
            <a:extLst>
              <a:ext uri="{FF2B5EF4-FFF2-40B4-BE49-F238E27FC236}">
                <a16:creationId xmlns:a16="http://schemas.microsoft.com/office/drawing/2014/main" id="{A0C89580-3F4C-4406-9CE8-F947D335A7AB}"/>
              </a:ext>
            </a:extLst>
          </p:cNvPr>
          <p:cNvSpPr txBox="1">
            <a:spLocks/>
          </p:cNvSpPr>
          <p:nvPr/>
        </p:nvSpPr>
        <p:spPr>
          <a:xfrm>
            <a:off x="4561766" y="1717175"/>
            <a:ext cx="3877393" cy="887413"/>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200" kern="1200" cap="none" baseline="0">
                <a:solidFill>
                  <a:schemeClr val="tx1"/>
                </a:solidFill>
                <a:latin typeface="+mj-lt"/>
                <a:ea typeface="+mj-ea"/>
                <a:cs typeface="+mj-cs"/>
              </a:defRPr>
            </a:lvl1pPr>
          </a:lstStyle>
          <a:p>
            <a:pPr>
              <a:lnSpc>
                <a:spcPct val="115000"/>
              </a:lnSpc>
              <a:spcBef>
                <a:spcPts val="500"/>
              </a:spcBef>
              <a:spcAft>
                <a:spcPts val="1000"/>
              </a:spcAft>
              <a:tabLst>
                <a:tab pos="810260" algn="l"/>
                <a:tab pos="1620520" algn="l"/>
                <a:tab pos="2430780" algn="l"/>
                <a:tab pos="4050665" algn="l"/>
                <a:tab pos="5311140" algn="r"/>
                <a:tab pos="828040" algn="l"/>
              </a:tabLst>
            </a:pPr>
            <a:r>
              <a:rPr lang="fi-FI" sz="1100" b="1">
                <a:solidFill>
                  <a:srgbClr val="984806"/>
                </a:solidFill>
                <a:effectLst/>
                <a:latin typeface="Calibri" panose="020F0502020204030204" pitchFamily="34" charset="0"/>
                <a:ea typeface="Times New Roman" panose="02020603050405020304" pitchFamily="18" charset="0"/>
                <a:cs typeface="Times New Roman" panose="02020603050405020304" pitchFamily="18" charset="0"/>
              </a:rPr>
              <a:t>VAIHTOEHTO 2. ”TUOTANNOLLINEN”</a:t>
            </a:r>
            <a:br>
              <a:rPr lang="fi-FI" sz="1100">
                <a:latin typeface="Calibri" panose="020F0502020204030204" pitchFamily="34" charset="0"/>
                <a:ea typeface="Times New Roman" panose="02020603050405020304" pitchFamily="18" charset="0"/>
                <a:cs typeface="Times New Roman" panose="02020603050405020304" pitchFamily="18" charset="0"/>
              </a:rPr>
            </a:br>
            <a:r>
              <a:rPr lang="fi-FI" sz="1100" b="1">
                <a:latin typeface="Calibri" panose="020F0502020204030204" pitchFamily="34" charset="0"/>
                <a:ea typeface="Times New Roman" panose="02020603050405020304" pitchFamily="18" charset="0"/>
                <a:cs typeface="Times New Roman" panose="02020603050405020304" pitchFamily="18" charset="0"/>
              </a:rPr>
              <a:t>Vaihtoehto perustuu raaka-aineiden (erityisesti metsien) hyödyntämiseen. </a:t>
            </a:r>
            <a:endParaRPr lang="fi-FI" sz="110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4" name="Tekstiruutu 13">
            <a:extLst>
              <a:ext uri="{FF2B5EF4-FFF2-40B4-BE49-F238E27FC236}">
                <a16:creationId xmlns:a16="http://schemas.microsoft.com/office/drawing/2014/main" id="{70281C8D-B515-4675-BF47-E8640A6D87F5}"/>
              </a:ext>
            </a:extLst>
          </p:cNvPr>
          <p:cNvSpPr txBox="1"/>
          <p:nvPr/>
        </p:nvSpPr>
        <p:spPr>
          <a:xfrm>
            <a:off x="261892" y="6016936"/>
            <a:ext cx="9997986" cy="592470"/>
          </a:xfrm>
          <a:prstGeom prst="rect">
            <a:avLst/>
          </a:prstGeom>
          <a:noFill/>
        </p:spPr>
        <p:txBody>
          <a:bodyPr wrap="square">
            <a:spAutoFit/>
          </a:bodyPr>
          <a:lstStyle/>
          <a:p>
            <a:pPr algn="just">
              <a:lnSpc>
                <a:spcPts val="1300"/>
              </a:lnSpc>
              <a:spcAft>
                <a:spcPts val="650"/>
              </a:spcAft>
            </a:pPr>
            <a:r>
              <a:rPr lang="fi-FI" sz="1400" b="1">
                <a:solidFill>
                  <a:srgbClr val="0070C0"/>
                </a:solidFill>
                <a:effectLst/>
                <a:ea typeface="Times New Roman" panose="02020603050405020304" pitchFamily="18" charset="0"/>
                <a:cs typeface="Times New Roman" panose="02020603050405020304" pitchFamily="18" charset="0"/>
              </a:rPr>
              <a:t>Vertailun pohjalta päädyttiin siihen, että yleiskaava pohjautuu kaikkiin rakennemalleihin kuitenkin vaihtoehtoa 3 painottaen esimerkiksi taajaman kehittämistarpeiden osalta. </a:t>
            </a:r>
            <a:r>
              <a:rPr lang="fi-FI" sz="1400" b="1">
                <a:effectLst/>
                <a:ea typeface="Times New Roman" panose="02020603050405020304" pitchFamily="18" charset="0"/>
                <a:cs typeface="Times New Roman" panose="02020603050405020304" pitchFamily="18" charset="0"/>
              </a:rPr>
              <a:t>Vaihtoehdosta 1 saadaan hyviä näkökulmia erityisesti viher- ja virkistysverkon kehittämiseen, vaihtoehdosta 2 muun muassa elinkeinoihin.</a:t>
            </a:r>
          </a:p>
        </p:txBody>
      </p:sp>
      <p:sp>
        <p:nvSpPr>
          <p:cNvPr id="15" name="Title 1">
            <a:extLst>
              <a:ext uri="{FF2B5EF4-FFF2-40B4-BE49-F238E27FC236}">
                <a16:creationId xmlns:a16="http://schemas.microsoft.com/office/drawing/2014/main" id="{DE36A686-F078-4242-B0D0-229EDF563B6E}"/>
              </a:ext>
            </a:extLst>
          </p:cNvPr>
          <p:cNvSpPr txBox="1">
            <a:spLocks/>
          </p:cNvSpPr>
          <p:nvPr/>
        </p:nvSpPr>
        <p:spPr>
          <a:xfrm>
            <a:off x="466974" y="544829"/>
            <a:ext cx="11124701" cy="887413"/>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200" kern="1200" cap="none" baseline="0">
                <a:solidFill>
                  <a:schemeClr val="tx1"/>
                </a:solidFill>
                <a:latin typeface="+mj-lt"/>
                <a:ea typeface="+mj-ea"/>
                <a:cs typeface="+mj-cs"/>
              </a:defRPr>
            </a:lvl1pPr>
          </a:lstStyle>
          <a:p>
            <a:r>
              <a:rPr lang="fi-FI" sz="2800"/>
              <a:t>Skenaario-/rakennemallitarkastelut </a:t>
            </a:r>
          </a:p>
        </p:txBody>
      </p:sp>
    </p:spTree>
    <p:extLst>
      <p:ext uri="{BB962C8B-B14F-4D97-AF65-F5344CB8AC3E}">
        <p14:creationId xmlns:p14="http://schemas.microsoft.com/office/powerpoint/2010/main" val="3306867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pic>
        <p:nvPicPr>
          <p:cNvPr id="17" name="Kuva 16">
            <a:extLst>
              <a:ext uri="{FF2B5EF4-FFF2-40B4-BE49-F238E27FC236}">
                <a16:creationId xmlns:a16="http://schemas.microsoft.com/office/drawing/2014/main" id="{204E2A1D-2125-4927-9414-4C6CD52D3761}"/>
              </a:ext>
            </a:extLst>
          </p:cNvPr>
          <p:cNvPicPr>
            <a:picLocks noChangeAspect="1"/>
          </p:cNvPicPr>
          <p:nvPr/>
        </p:nvPicPr>
        <p:blipFill>
          <a:blip r:embed="rId3">
            <a:duotone>
              <a:schemeClr val="bg2">
                <a:shade val="45000"/>
                <a:satMod val="135000"/>
              </a:schemeClr>
              <a:prstClr val="white"/>
            </a:duotone>
          </a:blip>
          <a:stretch>
            <a:fillRect/>
          </a:stretch>
        </p:blipFill>
        <p:spPr>
          <a:xfrm>
            <a:off x="3998466" y="930165"/>
            <a:ext cx="6974334" cy="4630553"/>
          </a:xfrm>
          <a:prstGeom prst="rect">
            <a:avLst/>
          </a:prstGeom>
          <a:ln>
            <a:noFill/>
          </a:ln>
          <a:effectLst>
            <a:softEdge rad="635000"/>
          </a:effectLst>
        </p:spPr>
      </p:pic>
      <p:sp>
        <p:nvSpPr>
          <p:cNvPr id="2" name="Title 1"/>
          <p:cNvSpPr>
            <a:spLocks noGrp="1"/>
          </p:cNvSpPr>
          <p:nvPr>
            <p:ph type="title"/>
          </p:nvPr>
        </p:nvSpPr>
        <p:spPr>
          <a:xfrm>
            <a:off x="859199" y="1776959"/>
            <a:ext cx="11124701" cy="887413"/>
          </a:xfrm>
        </p:spPr>
        <p:txBody>
          <a:bodyPr anchor="ctr">
            <a:normAutofit/>
          </a:bodyPr>
          <a:lstStyle/>
          <a:p>
            <a:r>
              <a:rPr lang="fi-FI">
                <a:solidFill>
                  <a:srgbClr val="0070C0"/>
                </a:solidFill>
              </a:rPr>
              <a:t>Kaavaluonnos teemoittain</a:t>
            </a:r>
          </a:p>
        </p:txBody>
      </p:sp>
    </p:spTree>
    <p:extLst>
      <p:ext uri="{BB962C8B-B14F-4D97-AF65-F5344CB8AC3E}">
        <p14:creationId xmlns:p14="http://schemas.microsoft.com/office/powerpoint/2010/main" val="35747436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649" y="671875"/>
            <a:ext cx="11124701" cy="887413"/>
          </a:xfrm>
        </p:spPr>
        <p:txBody>
          <a:bodyPr anchor="ctr">
            <a:normAutofit/>
          </a:bodyPr>
          <a:lstStyle/>
          <a:p>
            <a:r>
              <a:rPr lang="fi-FI" sz="2800"/>
              <a:t>Yleiskaavamääräykset</a:t>
            </a: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sp>
        <p:nvSpPr>
          <p:cNvPr id="6" name="Sisällön paikkamerkki 2">
            <a:extLst>
              <a:ext uri="{FF2B5EF4-FFF2-40B4-BE49-F238E27FC236}">
                <a16:creationId xmlns:a16="http://schemas.microsoft.com/office/drawing/2014/main" id="{A1628DB5-63E4-40CD-9A9A-CE27321057F6}"/>
              </a:ext>
            </a:extLst>
          </p:cNvPr>
          <p:cNvSpPr txBox="1">
            <a:spLocks/>
          </p:cNvSpPr>
          <p:nvPr/>
        </p:nvSpPr>
        <p:spPr>
          <a:xfrm>
            <a:off x="533649" y="1559288"/>
            <a:ext cx="7471225" cy="4760573"/>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3pPr>
            <a:lvl4pPr marL="86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0"/>
              </a:spcBef>
              <a:spcAft>
                <a:spcPts val="1200"/>
              </a:spcAft>
              <a:buClrTx/>
              <a:buSzTx/>
              <a:buNone/>
              <a:tabLst/>
              <a:defRPr/>
            </a:pPr>
            <a:r>
              <a:rPr lang="fi-FI" sz="1600">
                <a:solidFill>
                  <a:srgbClr val="0070C0"/>
                </a:solidFill>
                <a:latin typeface="Sweco Sans"/>
              </a:rPr>
              <a:t>Yleiskaavassa on annettu yleisiä määräyksiä muun muassa seuraaviin teemoihin liittyen:</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600">
                <a:latin typeface="Sweco Sans"/>
              </a:rPr>
              <a:t>Ilmastonmuutoksen ehkäisy ja muutokseen sopeutuminen</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600">
                <a:latin typeface="Sweco Sans"/>
              </a:rPr>
              <a:t>Alkutuotannon toiminta- ja kehittämisedellytysten turvaaminen</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600">
                <a:latin typeface="Sweco Sans"/>
              </a:rPr>
              <a:t>Pohjaveden pilaamiskielto</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600">
                <a:latin typeface="Sweco Sans"/>
              </a:rPr>
              <a:t>Meluntorjunta yksityiskohtaisemmassa kaavoituksessa ja hankesuunnittelussa</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600">
                <a:latin typeface="Sweco Sans"/>
              </a:rPr>
              <a:t>Arvokkaiden rakennettujen kulttuuriympäristöjen huomiointi</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600">
                <a:latin typeface="Sweco Sans"/>
              </a:rPr>
              <a:t>Kerran 100 vuodessa toistuvaan tulvaan varautuminen</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600">
                <a:latin typeface="Sweco Sans"/>
              </a:rPr>
              <a:t>Maankohoamisrannikon erityispiirteiden huomiointi</a:t>
            </a:r>
          </a:p>
          <a:p>
            <a:pPr marL="0" marR="0" lvl="0" indent="0" algn="l" defTabSz="914400" rtl="0" eaLnBrk="1" fontAlgn="auto" latinLnBrk="0" hangingPunct="1">
              <a:lnSpc>
                <a:spcPts val="2000"/>
              </a:lnSpc>
              <a:spcBef>
                <a:spcPts val="0"/>
              </a:spcBef>
              <a:spcAft>
                <a:spcPts val="1200"/>
              </a:spcAft>
              <a:buClrTx/>
              <a:buSzTx/>
              <a:buNone/>
              <a:tabLst/>
              <a:defRPr/>
            </a:pPr>
            <a:endParaRPr lang="fi-FI" sz="1600">
              <a:solidFill>
                <a:srgbClr val="0070C0"/>
              </a:solidFill>
              <a:latin typeface="Sweco Sans"/>
            </a:endParaRPr>
          </a:p>
          <a:p>
            <a:pPr marL="0" marR="0" lvl="0" indent="0" algn="l" defTabSz="914400" rtl="0" eaLnBrk="1" fontAlgn="auto" latinLnBrk="0" hangingPunct="1">
              <a:lnSpc>
                <a:spcPts val="2000"/>
              </a:lnSpc>
              <a:spcBef>
                <a:spcPts val="0"/>
              </a:spcBef>
              <a:spcAft>
                <a:spcPts val="1200"/>
              </a:spcAft>
              <a:buClrTx/>
              <a:buSzTx/>
              <a:buNone/>
              <a:tabLst/>
              <a:defRPr/>
            </a:pPr>
            <a:r>
              <a:rPr lang="fi-FI" sz="1600">
                <a:solidFill>
                  <a:srgbClr val="0070C0"/>
                </a:solidFill>
                <a:latin typeface="Sweco Sans"/>
              </a:rPr>
              <a:t>Lisäksi eri merkinnöille on määritelty kehittämisperiaate ja suunnittelumääräys</a:t>
            </a:r>
            <a:r>
              <a:rPr lang="fi-FI" sz="1600">
                <a:solidFill>
                  <a:srgbClr val="376AC3"/>
                </a:solidFill>
                <a:latin typeface="Sweco Sans"/>
              </a:rPr>
              <a:t>.</a:t>
            </a:r>
          </a:p>
        </p:txBody>
      </p:sp>
      <p:pic>
        <p:nvPicPr>
          <p:cNvPr id="3" name="Kuva 2">
            <a:extLst>
              <a:ext uri="{FF2B5EF4-FFF2-40B4-BE49-F238E27FC236}">
                <a16:creationId xmlns:a16="http://schemas.microsoft.com/office/drawing/2014/main" id="{CF3D4FB6-17BE-4CDA-9D83-07570A48C11B}"/>
              </a:ext>
            </a:extLst>
          </p:cNvPr>
          <p:cNvPicPr>
            <a:picLocks noChangeAspect="1"/>
          </p:cNvPicPr>
          <p:nvPr/>
        </p:nvPicPr>
        <p:blipFill>
          <a:blip r:embed="rId3"/>
          <a:stretch>
            <a:fillRect/>
          </a:stretch>
        </p:blipFill>
        <p:spPr>
          <a:xfrm>
            <a:off x="7531084" y="1623943"/>
            <a:ext cx="4193941" cy="3557657"/>
          </a:xfrm>
          <a:prstGeom prst="rect">
            <a:avLst/>
          </a:prstGeom>
        </p:spPr>
      </p:pic>
    </p:spTree>
    <p:extLst>
      <p:ext uri="{BB962C8B-B14F-4D97-AF65-F5344CB8AC3E}">
        <p14:creationId xmlns:p14="http://schemas.microsoft.com/office/powerpoint/2010/main" val="3332440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974" y="671875"/>
            <a:ext cx="11124701" cy="887413"/>
          </a:xfrm>
        </p:spPr>
        <p:txBody>
          <a:bodyPr anchor="ctr">
            <a:normAutofit/>
          </a:bodyPr>
          <a:lstStyle/>
          <a:p>
            <a:r>
              <a:rPr lang="fi-FI" sz="2800"/>
              <a:t>Vaikutusten arviointi</a:t>
            </a: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sp>
        <p:nvSpPr>
          <p:cNvPr id="6" name="Sisällön paikkamerkki 2">
            <a:extLst>
              <a:ext uri="{FF2B5EF4-FFF2-40B4-BE49-F238E27FC236}">
                <a16:creationId xmlns:a16="http://schemas.microsoft.com/office/drawing/2014/main" id="{36F838E0-E3C0-46FE-BBD9-F1CD5CDE72BD}"/>
              </a:ext>
            </a:extLst>
          </p:cNvPr>
          <p:cNvSpPr txBox="1">
            <a:spLocks/>
          </p:cNvSpPr>
          <p:nvPr/>
        </p:nvSpPr>
        <p:spPr>
          <a:xfrm>
            <a:off x="466974" y="1445054"/>
            <a:ext cx="9552680" cy="4462760"/>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3pPr>
            <a:lvl4pPr marL="86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0"/>
              </a:spcBef>
              <a:spcAft>
                <a:spcPts val="1200"/>
              </a:spcAft>
              <a:buClrTx/>
              <a:buSzTx/>
              <a:buNone/>
              <a:tabLst/>
              <a:defRPr/>
            </a:pPr>
            <a:r>
              <a:rPr lang="fi-FI" sz="1600">
                <a:latin typeface="Sweco Sans"/>
              </a:rPr>
              <a:t>Maankäyttö- ja rakennuslain 9 §:n mukaan kaavaa laadittaessa on tarpeellisessa määrin selvitettävä suunnitelman ja tarkasteltavien vaihtoehtojen toteuttamisen ympäristövaikutukset, mukaan lukien yhdyskuntataloudelliset, sosiaaliset, kulttuuriset ja muut vaikutukset. Selvitykset on tehtävä koko siltä alueelta, jolla kaavalla voidaan arvioida olevan olennaisia vaikutuksia.</a:t>
            </a:r>
          </a:p>
          <a:p>
            <a:pPr marL="0" marR="0" lvl="0" indent="0" algn="l" defTabSz="914400" rtl="0" eaLnBrk="1" fontAlgn="auto" latinLnBrk="0" hangingPunct="1">
              <a:lnSpc>
                <a:spcPts val="2000"/>
              </a:lnSpc>
              <a:spcBef>
                <a:spcPts val="0"/>
              </a:spcBef>
              <a:spcAft>
                <a:spcPts val="1200"/>
              </a:spcAft>
              <a:buClrTx/>
              <a:buSzTx/>
              <a:buNone/>
              <a:tabLst/>
              <a:defRPr/>
            </a:pPr>
            <a:r>
              <a:rPr lang="fi-FI" sz="1600">
                <a:latin typeface="Sweco Sans"/>
              </a:rPr>
              <a:t>Maankäyttö- ja rakennusasetuksen 1 §:n mukaan s</a:t>
            </a:r>
            <a:r>
              <a:rPr kumimoji="0" lang="fi-FI" sz="1600" b="0" i="0" u="none" strike="noStrike" kern="1200" cap="none" spc="0" normalizeH="0" baseline="0" noProof="0" err="1">
                <a:ln>
                  <a:noFill/>
                </a:ln>
                <a:effectLst/>
                <a:uLnTx/>
                <a:uFillTx/>
                <a:latin typeface="Sweco Sans"/>
                <a:ea typeface="+mn-ea"/>
                <a:cs typeface="+mn-cs"/>
              </a:rPr>
              <a:t>elvitysten</a:t>
            </a:r>
            <a:r>
              <a:rPr kumimoji="0" lang="fi-FI" sz="1600" b="0" i="0" u="none" strike="noStrike" kern="1200" cap="none" spc="0" normalizeH="0" baseline="0" noProof="0">
                <a:ln>
                  <a:noFill/>
                </a:ln>
                <a:effectLst/>
                <a:uLnTx/>
                <a:uFillTx/>
                <a:latin typeface="Sweco Sans"/>
                <a:ea typeface="+mn-ea"/>
                <a:cs typeface="+mn-cs"/>
              </a:rPr>
              <a:t> on annettava riittävät tiedot, jotta voidaan arvioida suunnitelman toteuttamisen merkittävät välittömät ja välilliset vaikutukset:</a:t>
            </a:r>
          </a:p>
          <a:p>
            <a:pPr marL="0" marR="0" lvl="0" indent="0" algn="l" defTabSz="914400" rtl="0" eaLnBrk="1" fontAlgn="auto" latinLnBrk="0" hangingPunct="1">
              <a:lnSpc>
                <a:spcPts val="2000"/>
              </a:lnSpc>
              <a:spcBef>
                <a:spcPts val="0"/>
              </a:spcBef>
              <a:buClrTx/>
              <a:buSzTx/>
              <a:buNone/>
              <a:tabLst/>
              <a:defRPr/>
            </a:pPr>
            <a:r>
              <a:rPr kumimoji="0" lang="fi-FI" sz="1600" b="0" i="0" u="none" strike="noStrike" kern="1200" cap="none" spc="0" normalizeH="0" baseline="0" noProof="0">
                <a:ln>
                  <a:noFill/>
                </a:ln>
                <a:effectLst/>
                <a:uLnTx/>
                <a:uFillTx/>
                <a:latin typeface="Sweco Sans"/>
                <a:ea typeface="+mn-ea"/>
                <a:cs typeface="+mn-cs"/>
              </a:rPr>
              <a:t>1) ihmisten elinoloihin ja elinympäristöön;</a:t>
            </a:r>
          </a:p>
          <a:p>
            <a:pPr marL="0" marR="0" lvl="0" indent="0" algn="l" defTabSz="914400" rtl="0" eaLnBrk="1" fontAlgn="auto" latinLnBrk="0" hangingPunct="1">
              <a:lnSpc>
                <a:spcPts val="2000"/>
              </a:lnSpc>
              <a:spcBef>
                <a:spcPts val="0"/>
              </a:spcBef>
              <a:buClrTx/>
              <a:buSzTx/>
              <a:buNone/>
              <a:tabLst/>
              <a:defRPr/>
            </a:pPr>
            <a:r>
              <a:rPr kumimoji="0" lang="fi-FI" sz="1600" b="0" i="0" u="none" strike="noStrike" kern="1200" cap="none" spc="0" normalizeH="0" baseline="0" noProof="0">
                <a:ln>
                  <a:noFill/>
                </a:ln>
                <a:effectLst/>
                <a:uLnTx/>
                <a:uFillTx/>
                <a:latin typeface="Sweco Sans"/>
                <a:ea typeface="+mn-ea"/>
                <a:cs typeface="+mn-cs"/>
              </a:rPr>
              <a:t>2) maa- ja kallioperään, veteen, ilmaan ja ilmastoon;</a:t>
            </a:r>
          </a:p>
          <a:p>
            <a:pPr marL="0" marR="0" lvl="0" indent="0" algn="l" defTabSz="914400" rtl="0" eaLnBrk="1" fontAlgn="auto" latinLnBrk="0" hangingPunct="1">
              <a:lnSpc>
                <a:spcPts val="2000"/>
              </a:lnSpc>
              <a:spcBef>
                <a:spcPts val="0"/>
              </a:spcBef>
              <a:buClrTx/>
              <a:buSzTx/>
              <a:buNone/>
              <a:tabLst/>
              <a:defRPr/>
            </a:pPr>
            <a:r>
              <a:rPr kumimoji="0" lang="fi-FI" sz="1600" b="0" i="0" u="none" strike="noStrike" kern="1200" cap="none" spc="0" normalizeH="0" baseline="0" noProof="0">
                <a:ln>
                  <a:noFill/>
                </a:ln>
                <a:effectLst/>
                <a:uLnTx/>
                <a:uFillTx/>
                <a:latin typeface="Sweco Sans"/>
                <a:ea typeface="+mn-ea"/>
                <a:cs typeface="+mn-cs"/>
              </a:rPr>
              <a:t>3) kasvi- ja eläinlajeihin, luonnon monimuotoisuuteen ja luonnonvaroihin;</a:t>
            </a:r>
          </a:p>
          <a:p>
            <a:pPr marL="0" marR="0" lvl="0" indent="0" algn="l" defTabSz="914400" rtl="0" eaLnBrk="1" fontAlgn="auto" latinLnBrk="0" hangingPunct="1">
              <a:lnSpc>
                <a:spcPts val="2000"/>
              </a:lnSpc>
              <a:spcBef>
                <a:spcPts val="0"/>
              </a:spcBef>
              <a:buClrTx/>
              <a:buSzTx/>
              <a:buNone/>
              <a:tabLst/>
              <a:defRPr/>
            </a:pPr>
            <a:r>
              <a:rPr kumimoji="0" lang="fi-FI" sz="1600" b="0" i="0" u="none" strike="noStrike" kern="1200" cap="none" spc="0" normalizeH="0" baseline="0" noProof="0">
                <a:ln>
                  <a:noFill/>
                </a:ln>
                <a:effectLst/>
                <a:uLnTx/>
                <a:uFillTx/>
                <a:latin typeface="Sweco Sans"/>
                <a:ea typeface="+mn-ea"/>
                <a:cs typeface="+mn-cs"/>
              </a:rPr>
              <a:t>4) alue- ja yhdyskuntarakenteeseen, yhdyskunta- ja energiatalouteen sekä liikenteeseen;</a:t>
            </a:r>
          </a:p>
          <a:p>
            <a:pPr marL="0" marR="0" lvl="0" indent="0" algn="l" defTabSz="914400" rtl="0" eaLnBrk="1" fontAlgn="auto" latinLnBrk="0" hangingPunct="1">
              <a:lnSpc>
                <a:spcPts val="2000"/>
              </a:lnSpc>
              <a:spcBef>
                <a:spcPts val="0"/>
              </a:spcBef>
              <a:buClrTx/>
              <a:buSzTx/>
              <a:buNone/>
              <a:tabLst/>
              <a:defRPr/>
            </a:pPr>
            <a:r>
              <a:rPr kumimoji="0" lang="fi-FI" sz="1600" b="0" i="0" u="none" strike="noStrike" kern="1200" cap="none" spc="0" normalizeH="0" baseline="0" noProof="0">
                <a:ln>
                  <a:noFill/>
                </a:ln>
                <a:effectLst/>
                <a:uLnTx/>
                <a:uFillTx/>
                <a:latin typeface="Sweco Sans"/>
                <a:ea typeface="+mn-ea"/>
                <a:cs typeface="+mn-cs"/>
              </a:rPr>
              <a:t>5) kaupunkikuvaan, maisemaan, kulttuuriperintöön ja rakennettuun ympäristöön;</a:t>
            </a:r>
          </a:p>
          <a:p>
            <a:pPr marL="0" marR="0" lvl="0" indent="0" algn="l" defTabSz="914400" rtl="0" eaLnBrk="1" fontAlgn="auto" latinLnBrk="0" hangingPunct="1">
              <a:lnSpc>
                <a:spcPts val="2000"/>
              </a:lnSpc>
              <a:spcBef>
                <a:spcPts val="0"/>
              </a:spcBef>
              <a:buClrTx/>
              <a:buSzTx/>
              <a:buNone/>
              <a:tabLst/>
              <a:defRPr/>
            </a:pPr>
            <a:r>
              <a:rPr kumimoji="0" lang="fi-FI" sz="1600" b="0" i="0" u="none" strike="noStrike" kern="1200" cap="none" spc="0" normalizeH="0" baseline="0" noProof="0">
                <a:ln>
                  <a:noFill/>
                </a:ln>
                <a:effectLst/>
                <a:uLnTx/>
                <a:uFillTx/>
                <a:latin typeface="Sweco Sans"/>
                <a:ea typeface="+mn-ea"/>
                <a:cs typeface="+mn-cs"/>
              </a:rPr>
              <a:t>6) elinkeinoelämän toimivan kilpailun kehittymiseen.</a:t>
            </a:r>
          </a:p>
          <a:p>
            <a:pPr marL="0" marR="0" lvl="0" indent="0" algn="l" defTabSz="914400" rtl="0" eaLnBrk="1" fontAlgn="auto" latinLnBrk="0" hangingPunct="1">
              <a:lnSpc>
                <a:spcPts val="2000"/>
              </a:lnSpc>
              <a:spcBef>
                <a:spcPts val="0"/>
              </a:spcBef>
              <a:buClrTx/>
              <a:buSzTx/>
              <a:buNone/>
              <a:tabLst/>
              <a:defRPr/>
            </a:pPr>
            <a:endParaRPr lang="fi-FI" sz="1600">
              <a:latin typeface="Sweco Sans"/>
            </a:endParaRPr>
          </a:p>
          <a:p>
            <a:pPr marL="0" indent="0">
              <a:lnSpc>
                <a:spcPts val="2000"/>
              </a:lnSpc>
              <a:spcBef>
                <a:spcPts val="0"/>
              </a:spcBef>
              <a:buNone/>
              <a:defRPr/>
            </a:pPr>
            <a:r>
              <a:rPr kumimoji="0" lang="fi-FI" sz="1600" b="0" i="0" u="none" strike="noStrike" kern="1200" cap="none" spc="0" normalizeH="0" baseline="0" noProof="0">
                <a:ln>
                  <a:noFill/>
                </a:ln>
                <a:solidFill>
                  <a:srgbClr val="0070C0"/>
                </a:solidFill>
                <a:effectLst/>
                <a:uLnTx/>
                <a:uFillTx/>
                <a:latin typeface="Sweco Sans"/>
                <a:ea typeface="+mn-ea"/>
                <a:cs typeface="+mn-cs"/>
              </a:rPr>
              <a:t>Kaavan vaikutuksia on arvioitu maankäyttö- ja rakennuslain ja asetuksen mukaisesti</a:t>
            </a:r>
            <a:r>
              <a:rPr kumimoji="0" lang="fi-FI" sz="1600" b="0" i="0" u="none" strike="noStrike" kern="1200" cap="none" spc="0" normalizeH="0" baseline="0" noProof="0">
                <a:ln>
                  <a:noFill/>
                </a:ln>
                <a:effectLst/>
                <a:uLnTx/>
                <a:uFillTx/>
                <a:latin typeface="Sweco Sans"/>
                <a:ea typeface="+mn-ea"/>
                <a:cs typeface="+mn-cs"/>
              </a:rPr>
              <a:t>. Vaikutusten arviointi tarkentuu ehdotusvaiheessa. </a:t>
            </a:r>
          </a:p>
          <a:p>
            <a:pPr marL="0" indent="0">
              <a:lnSpc>
                <a:spcPts val="2000"/>
              </a:lnSpc>
              <a:spcBef>
                <a:spcPts val="0"/>
              </a:spcBef>
              <a:buNone/>
              <a:defRPr/>
            </a:pPr>
            <a:endParaRPr kumimoji="0" lang="fi-FI" sz="1600" b="0" i="0" u="none" strike="noStrike" kern="1200" cap="none" spc="0" normalizeH="0" baseline="0" noProof="0">
              <a:ln>
                <a:noFill/>
              </a:ln>
              <a:solidFill>
                <a:srgbClr val="0070C0"/>
              </a:solidFill>
              <a:effectLst/>
              <a:uLnTx/>
              <a:uFillTx/>
              <a:latin typeface="Sweco Sans"/>
              <a:ea typeface="+mn-ea"/>
              <a:cs typeface="+mn-cs"/>
            </a:endParaRPr>
          </a:p>
          <a:p>
            <a:pPr marL="0" marR="0" lvl="0" indent="0" algn="l" defTabSz="914400" rtl="0" eaLnBrk="1" fontAlgn="auto" latinLnBrk="0" hangingPunct="1">
              <a:lnSpc>
                <a:spcPts val="2000"/>
              </a:lnSpc>
              <a:spcBef>
                <a:spcPts val="0"/>
              </a:spcBef>
              <a:spcAft>
                <a:spcPts val="1200"/>
              </a:spcAft>
              <a:buClrTx/>
              <a:buSzTx/>
              <a:buNone/>
              <a:tabLst/>
              <a:defRPr/>
            </a:pPr>
            <a:r>
              <a:rPr lang="fi-FI" sz="1600">
                <a:solidFill>
                  <a:srgbClr val="0070C0"/>
                </a:solidFill>
                <a:latin typeface="Sweco Sans"/>
              </a:rPr>
              <a:t>Vaikutusten arviointi on laadittu strategisen yleiskaavan edellyttämällä tarkkuudella. </a:t>
            </a:r>
            <a:r>
              <a:rPr lang="fi-FI" sz="1600">
                <a:latin typeface="Sweco Sans"/>
              </a:rPr>
              <a:t>Erityistä huomiota on kiinnitetty Iin kuntastrategiassa esille nostettuihin teemoihin. </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endParaRPr lang="fi-FI" sz="1600">
              <a:latin typeface="Sweco Sans"/>
            </a:endParaRPr>
          </a:p>
          <a:p>
            <a:pPr marL="285750" marR="0" lvl="0" indent="-285750" algn="l" defTabSz="914400" rtl="0" eaLnBrk="1" fontAlgn="auto" latinLnBrk="0" hangingPunct="1">
              <a:lnSpc>
                <a:spcPts val="2000"/>
              </a:lnSpc>
              <a:spcBef>
                <a:spcPts val="0"/>
              </a:spcBef>
              <a:spcAft>
                <a:spcPts val="1200"/>
              </a:spcAft>
              <a:buClrTx/>
              <a:buSzTx/>
              <a:buFont typeface="Arial" panose="020B0604020202020204" pitchFamily="34" charset="0"/>
              <a:buChar char="•"/>
              <a:tabLst/>
              <a:defRPr/>
            </a:pPr>
            <a:endParaRPr kumimoji="0" lang="fi-FI" sz="1600" b="0" i="0" u="none" strike="noStrike" kern="1200" cap="none" spc="0" normalizeH="0" baseline="0" noProof="0">
              <a:ln>
                <a:noFill/>
              </a:ln>
              <a:effectLst/>
              <a:uLnTx/>
              <a:uFillTx/>
              <a:latin typeface="Sweco Sans"/>
              <a:ea typeface="+mn-ea"/>
              <a:cs typeface="+mn-cs"/>
            </a:endParaRPr>
          </a:p>
        </p:txBody>
      </p:sp>
    </p:spTree>
    <p:extLst>
      <p:ext uri="{BB962C8B-B14F-4D97-AF65-F5344CB8AC3E}">
        <p14:creationId xmlns:p14="http://schemas.microsoft.com/office/powerpoint/2010/main" val="25570829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pic>
        <p:nvPicPr>
          <p:cNvPr id="3" name="Kuva 2">
            <a:extLst>
              <a:ext uri="{FF2B5EF4-FFF2-40B4-BE49-F238E27FC236}">
                <a16:creationId xmlns:a16="http://schemas.microsoft.com/office/drawing/2014/main" id="{871ACE2A-3A5F-470B-880C-8ABE9797E33A}"/>
              </a:ext>
            </a:extLst>
          </p:cNvPr>
          <p:cNvPicPr>
            <a:picLocks noChangeAspect="1"/>
          </p:cNvPicPr>
          <p:nvPr/>
        </p:nvPicPr>
        <p:blipFill>
          <a:blip r:embed="rId3"/>
          <a:stretch>
            <a:fillRect/>
          </a:stretch>
        </p:blipFill>
        <p:spPr>
          <a:xfrm>
            <a:off x="3212610" y="740301"/>
            <a:ext cx="8644877" cy="5377138"/>
          </a:xfrm>
          <a:prstGeom prst="rect">
            <a:avLst/>
          </a:prstGeom>
        </p:spPr>
      </p:pic>
      <p:pic>
        <p:nvPicPr>
          <p:cNvPr id="5" name="Kuva 4">
            <a:extLst>
              <a:ext uri="{FF2B5EF4-FFF2-40B4-BE49-F238E27FC236}">
                <a16:creationId xmlns:a16="http://schemas.microsoft.com/office/drawing/2014/main" id="{60EEAD76-579D-436B-B425-EB92FCBDE1CF}"/>
              </a:ext>
            </a:extLst>
          </p:cNvPr>
          <p:cNvPicPr>
            <a:picLocks noChangeAspect="1"/>
          </p:cNvPicPr>
          <p:nvPr/>
        </p:nvPicPr>
        <p:blipFill>
          <a:blip r:embed="rId4"/>
          <a:stretch>
            <a:fillRect/>
          </a:stretch>
        </p:blipFill>
        <p:spPr>
          <a:xfrm>
            <a:off x="486934" y="1550223"/>
            <a:ext cx="3371925" cy="3001836"/>
          </a:xfrm>
          <a:prstGeom prst="rect">
            <a:avLst/>
          </a:prstGeom>
        </p:spPr>
      </p:pic>
      <p:sp>
        <p:nvSpPr>
          <p:cNvPr id="2" name="Title 1"/>
          <p:cNvSpPr>
            <a:spLocks noGrp="1"/>
          </p:cNvSpPr>
          <p:nvPr>
            <p:ph type="title"/>
          </p:nvPr>
        </p:nvSpPr>
        <p:spPr>
          <a:xfrm>
            <a:off x="466974" y="740301"/>
            <a:ext cx="11124701" cy="887413"/>
          </a:xfrm>
        </p:spPr>
        <p:txBody>
          <a:bodyPr anchor="ctr">
            <a:normAutofit/>
          </a:bodyPr>
          <a:lstStyle/>
          <a:p>
            <a:r>
              <a:rPr lang="fi-FI" sz="2800"/>
              <a:t>Yhdyskuntarakenne ja asutus</a:t>
            </a:r>
          </a:p>
        </p:txBody>
      </p:sp>
      <p:pic>
        <p:nvPicPr>
          <p:cNvPr id="6" name="Kuva 5">
            <a:extLst>
              <a:ext uri="{FF2B5EF4-FFF2-40B4-BE49-F238E27FC236}">
                <a16:creationId xmlns:a16="http://schemas.microsoft.com/office/drawing/2014/main" id="{3EF23D16-95AA-4890-ACE0-4233136F5CB1}"/>
              </a:ext>
            </a:extLst>
          </p:cNvPr>
          <p:cNvPicPr>
            <a:picLocks noChangeAspect="1"/>
          </p:cNvPicPr>
          <p:nvPr/>
        </p:nvPicPr>
        <p:blipFill>
          <a:blip r:embed="rId5"/>
          <a:stretch>
            <a:fillRect/>
          </a:stretch>
        </p:blipFill>
        <p:spPr>
          <a:xfrm>
            <a:off x="9491676" y="3218754"/>
            <a:ext cx="2365811" cy="1588756"/>
          </a:xfrm>
          <a:prstGeom prst="rect">
            <a:avLst/>
          </a:prstGeom>
        </p:spPr>
      </p:pic>
      <p:pic>
        <p:nvPicPr>
          <p:cNvPr id="7" name="Kuva 6">
            <a:extLst>
              <a:ext uri="{FF2B5EF4-FFF2-40B4-BE49-F238E27FC236}">
                <a16:creationId xmlns:a16="http://schemas.microsoft.com/office/drawing/2014/main" id="{1C18F1E5-B49B-4212-9ACB-3B09C9046310}"/>
              </a:ext>
            </a:extLst>
          </p:cNvPr>
          <p:cNvPicPr>
            <a:picLocks noChangeAspect="1"/>
          </p:cNvPicPr>
          <p:nvPr/>
        </p:nvPicPr>
        <p:blipFill>
          <a:blip r:embed="rId6"/>
          <a:stretch>
            <a:fillRect/>
          </a:stretch>
        </p:blipFill>
        <p:spPr>
          <a:xfrm>
            <a:off x="466974" y="4672337"/>
            <a:ext cx="2298665" cy="1402575"/>
          </a:xfrm>
          <a:prstGeom prst="rect">
            <a:avLst/>
          </a:prstGeom>
        </p:spPr>
      </p:pic>
      <p:pic>
        <p:nvPicPr>
          <p:cNvPr id="9" name="Kuva 8">
            <a:extLst>
              <a:ext uri="{FF2B5EF4-FFF2-40B4-BE49-F238E27FC236}">
                <a16:creationId xmlns:a16="http://schemas.microsoft.com/office/drawing/2014/main" id="{ED789774-EDBB-4FF0-89ED-F1F97EAAC353}"/>
              </a:ext>
            </a:extLst>
          </p:cNvPr>
          <p:cNvPicPr>
            <a:picLocks noChangeAspect="1"/>
          </p:cNvPicPr>
          <p:nvPr/>
        </p:nvPicPr>
        <p:blipFill rotWithShape="1">
          <a:blip r:embed="rId7"/>
          <a:srcRect t="21618"/>
          <a:stretch/>
        </p:blipFill>
        <p:spPr>
          <a:xfrm>
            <a:off x="486934" y="1747992"/>
            <a:ext cx="2655478" cy="183166"/>
          </a:xfrm>
          <a:prstGeom prst="rect">
            <a:avLst/>
          </a:prstGeom>
        </p:spPr>
      </p:pic>
      <p:pic>
        <p:nvPicPr>
          <p:cNvPr id="16" name="Kuva 15">
            <a:extLst>
              <a:ext uri="{FF2B5EF4-FFF2-40B4-BE49-F238E27FC236}">
                <a16:creationId xmlns:a16="http://schemas.microsoft.com/office/drawing/2014/main" id="{B97067B6-9C71-4B28-B243-0F9ECFB2CF23}"/>
              </a:ext>
            </a:extLst>
          </p:cNvPr>
          <p:cNvPicPr>
            <a:picLocks noChangeAspect="1"/>
          </p:cNvPicPr>
          <p:nvPr/>
        </p:nvPicPr>
        <p:blipFill>
          <a:blip r:embed="rId8"/>
          <a:stretch>
            <a:fillRect/>
          </a:stretch>
        </p:blipFill>
        <p:spPr>
          <a:xfrm>
            <a:off x="466974" y="2500874"/>
            <a:ext cx="2351289" cy="198070"/>
          </a:xfrm>
          <a:prstGeom prst="rect">
            <a:avLst/>
          </a:prstGeom>
        </p:spPr>
      </p:pic>
    </p:spTree>
    <p:extLst>
      <p:ext uri="{BB962C8B-B14F-4D97-AF65-F5344CB8AC3E}">
        <p14:creationId xmlns:p14="http://schemas.microsoft.com/office/powerpoint/2010/main" val="2556483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974" y="801385"/>
            <a:ext cx="11124701" cy="887413"/>
          </a:xfrm>
        </p:spPr>
        <p:txBody>
          <a:bodyPr anchor="ctr">
            <a:normAutofit/>
          </a:bodyPr>
          <a:lstStyle/>
          <a:p>
            <a:r>
              <a:rPr lang="fi-FI" sz="2800"/>
              <a:t>Esimerkki liitteenä olevista kyläkuvauksista</a:t>
            </a: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pic>
        <p:nvPicPr>
          <p:cNvPr id="5" name="Kuva 4">
            <a:extLst>
              <a:ext uri="{FF2B5EF4-FFF2-40B4-BE49-F238E27FC236}">
                <a16:creationId xmlns:a16="http://schemas.microsoft.com/office/drawing/2014/main" id="{FDD7BB7D-CC7A-4C7D-BBBC-809FA7A52F40}"/>
              </a:ext>
            </a:extLst>
          </p:cNvPr>
          <p:cNvPicPr>
            <a:picLocks noChangeAspect="1"/>
          </p:cNvPicPr>
          <p:nvPr/>
        </p:nvPicPr>
        <p:blipFill>
          <a:blip r:embed="rId3"/>
          <a:stretch>
            <a:fillRect/>
          </a:stretch>
        </p:blipFill>
        <p:spPr>
          <a:xfrm>
            <a:off x="466974" y="1688798"/>
            <a:ext cx="7878651" cy="4428901"/>
          </a:xfrm>
          <a:prstGeom prst="rect">
            <a:avLst/>
          </a:prstGeom>
        </p:spPr>
      </p:pic>
    </p:spTree>
    <p:extLst>
      <p:ext uri="{BB962C8B-B14F-4D97-AF65-F5344CB8AC3E}">
        <p14:creationId xmlns:p14="http://schemas.microsoft.com/office/powerpoint/2010/main" val="22523781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pic>
        <p:nvPicPr>
          <p:cNvPr id="3" name="Kuva 2">
            <a:extLst>
              <a:ext uri="{FF2B5EF4-FFF2-40B4-BE49-F238E27FC236}">
                <a16:creationId xmlns:a16="http://schemas.microsoft.com/office/drawing/2014/main" id="{7BEC6FBC-19FE-4184-B8DD-A404BFD924DE}"/>
              </a:ext>
            </a:extLst>
          </p:cNvPr>
          <p:cNvPicPr>
            <a:picLocks noChangeAspect="1"/>
          </p:cNvPicPr>
          <p:nvPr/>
        </p:nvPicPr>
        <p:blipFill>
          <a:blip r:embed="rId3"/>
          <a:stretch>
            <a:fillRect/>
          </a:stretch>
        </p:blipFill>
        <p:spPr>
          <a:xfrm>
            <a:off x="3218707" y="808987"/>
            <a:ext cx="8638781" cy="5377138"/>
          </a:xfrm>
          <a:prstGeom prst="rect">
            <a:avLst/>
          </a:prstGeom>
        </p:spPr>
      </p:pic>
      <p:sp>
        <p:nvSpPr>
          <p:cNvPr id="2" name="Title 1"/>
          <p:cNvSpPr>
            <a:spLocks noGrp="1"/>
          </p:cNvSpPr>
          <p:nvPr>
            <p:ph type="title"/>
          </p:nvPr>
        </p:nvSpPr>
        <p:spPr>
          <a:xfrm>
            <a:off x="422851" y="671875"/>
            <a:ext cx="11124701" cy="887413"/>
          </a:xfrm>
        </p:spPr>
        <p:txBody>
          <a:bodyPr anchor="ctr">
            <a:normAutofit/>
          </a:bodyPr>
          <a:lstStyle/>
          <a:p>
            <a:r>
              <a:rPr lang="fi-FI" sz="2800"/>
              <a:t>Keskukset, elinkeinot ja energia</a:t>
            </a:r>
          </a:p>
        </p:txBody>
      </p:sp>
      <p:pic>
        <p:nvPicPr>
          <p:cNvPr id="5" name="Kuva 4">
            <a:extLst>
              <a:ext uri="{FF2B5EF4-FFF2-40B4-BE49-F238E27FC236}">
                <a16:creationId xmlns:a16="http://schemas.microsoft.com/office/drawing/2014/main" id="{F9E3094B-3E44-4758-9F62-3AB5FBF3AA59}"/>
              </a:ext>
            </a:extLst>
          </p:cNvPr>
          <p:cNvPicPr>
            <a:picLocks noChangeAspect="1"/>
          </p:cNvPicPr>
          <p:nvPr/>
        </p:nvPicPr>
        <p:blipFill>
          <a:blip r:embed="rId4"/>
          <a:stretch>
            <a:fillRect/>
          </a:stretch>
        </p:blipFill>
        <p:spPr>
          <a:xfrm>
            <a:off x="422851" y="1495387"/>
            <a:ext cx="2958151" cy="2958151"/>
          </a:xfrm>
          <a:prstGeom prst="rect">
            <a:avLst/>
          </a:prstGeom>
        </p:spPr>
      </p:pic>
      <p:pic>
        <p:nvPicPr>
          <p:cNvPr id="7" name="Kuva 6">
            <a:extLst>
              <a:ext uri="{FF2B5EF4-FFF2-40B4-BE49-F238E27FC236}">
                <a16:creationId xmlns:a16="http://schemas.microsoft.com/office/drawing/2014/main" id="{1C8122EB-09E6-42EF-9441-DD17FAECDD9E}"/>
              </a:ext>
            </a:extLst>
          </p:cNvPr>
          <p:cNvPicPr>
            <a:picLocks noChangeAspect="1"/>
          </p:cNvPicPr>
          <p:nvPr/>
        </p:nvPicPr>
        <p:blipFill>
          <a:blip r:embed="rId5"/>
          <a:stretch>
            <a:fillRect/>
          </a:stretch>
        </p:blipFill>
        <p:spPr>
          <a:xfrm>
            <a:off x="422851" y="4538192"/>
            <a:ext cx="2661312" cy="1219280"/>
          </a:xfrm>
          <a:prstGeom prst="rect">
            <a:avLst/>
          </a:prstGeom>
        </p:spPr>
      </p:pic>
      <p:pic>
        <p:nvPicPr>
          <p:cNvPr id="8" name="Kuva 7">
            <a:extLst>
              <a:ext uri="{FF2B5EF4-FFF2-40B4-BE49-F238E27FC236}">
                <a16:creationId xmlns:a16="http://schemas.microsoft.com/office/drawing/2014/main" id="{2584FB2C-49E4-4F5A-85A2-C49E608F485B}"/>
              </a:ext>
            </a:extLst>
          </p:cNvPr>
          <p:cNvPicPr>
            <a:picLocks noChangeAspect="1"/>
          </p:cNvPicPr>
          <p:nvPr/>
        </p:nvPicPr>
        <p:blipFill>
          <a:blip r:embed="rId6"/>
          <a:stretch>
            <a:fillRect/>
          </a:stretch>
        </p:blipFill>
        <p:spPr>
          <a:xfrm>
            <a:off x="422851" y="5765150"/>
            <a:ext cx="3025522" cy="561139"/>
          </a:xfrm>
          <a:prstGeom prst="rect">
            <a:avLst/>
          </a:prstGeom>
        </p:spPr>
      </p:pic>
    </p:spTree>
    <p:extLst>
      <p:ext uri="{BB962C8B-B14F-4D97-AF65-F5344CB8AC3E}">
        <p14:creationId xmlns:p14="http://schemas.microsoft.com/office/powerpoint/2010/main" val="3604813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974" y="639157"/>
            <a:ext cx="11124701" cy="887413"/>
          </a:xfrm>
        </p:spPr>
        <p:txBody>
          <a:bodyPr anchor="ctr">
            <a:normAutofit/>
          </a:bodyPr>
          <a:lstStyle/>
          <a:p>
            <a:r>
              <a:rPr lang="fi-FI" sz="2800"/>
              <a:t>Tuulivoima kaavaluonnoksessa</a:t>
            </a:r>
          </a:p>
        </p:txBody>
      </p:sp>
      <p:sp>
        <p:nvSpPr>
          <p:cNvPr id="13" name="Sisällön paikkamerkki 2">
            <a:extLst>
              <a:ext uri="{FF2B5EF4-FFF2-40B4-BE49-F238E27FC236}">
                <a16:creationId xmlns:a16="http://schemas.microsoft.com/office/drawing/2014/main" id="{2448473E-BE74-4D45-AA80-34B03F615A34}"/>
              </a:ext>
            </a:extLst>
          </p:cNvPr>
          <p:cNvSpPr txBox="1">
            <a:spLocks/>
          </p:cNvSpPr>
          <p:nvPr/>
        </p:nvSpPr>
        <p:spPr>
          <a:xfrm>
            <a:off x="544041" y="1404013"/>
            <a:ext cx="4848504" cy="4760573"/>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3pPr>
            <a:lvl4pPr marL="86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9pPr>
          </a:lstStyle>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400">
                <a:latin typeface="Sweco Sans"/>
              </a:rPr>
              <a:t>Strategisen yleiskaavan tuulivoima-alueet perustuvat pääosin voimassa oleviin / hyväksyttyihin tuulivoimayleiskaavoihin ja toteutettuihin tuulivoimapuistoihin.</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400">
                <a:latin typeface="Sweco Sans"/>
              </a:rPr>
              <a:t>Yksittäisiä uusia alueita on osoitettu tuulivoimaselvityksen pohjalta. Uudet alueet sijoittuvat toteutettujen tuulivoima-alueiden yhteyteen, suunnitteilla olevien hankealueiden läheisyyteen tai voimassa olevaan maakuntakaavaan.</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400">
                <a:latin typeface="Sweco Sans"/>
              </a:rPr>
              <a:t>Luonnosvaiheen kaavaratkaisussa on lähdetty siitä, että kunnan koillisosaan ei osoiteta uutta tuulivoimaa. </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400">
                <a:latin typeface="Sweco Sans"/>
              </a:rPr>
              <a:t>Merialueelle on osoitettu yksi laaja tuulivoimavyöhyke (ks. edellinen sivu)</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400">
                <a:latin typeface="Sweco Sans"/>
              </a:rPr>
              <a:t>Strateginen yleiskaava ei suoraan mahdollista tuulivoimapuistojen toteuttamista, vaan hankkeiden toteuttaminen edellyttää tarkempaa osayleiskaavaa ja tarvittaessa YVA-menettelyä. </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400">
                <a:latin typeface="Sweco Sans"/>
              </a:rPr>
              <a:t>Kunnan tuulivoimaa koskevat tavoitteet voidaan huomioida myös maakuntakaavan päivitystyössä. </a:t>
            </a:r>
          </a:p>
          <a:p>
            <a:pPr marL="285750" marR="0" lvl="0" indent="-285750" algn="l" defTabSz="914400" rtl="0" eaLnBrk="1" fontAlgn="auto" latinLnBrk="0" hangingPunct="1">
              <a:lnSpc>
                <a:spcPts val="2000"/>
              </a:lnSpc>
              <a:spcBef>
                <a:spcPts val="0"/>
              </a:spcBef>
              <a:spcAft>
                <a:spcPts val="1200"/>
              </a:spcAft>
              <a:buClrTx/>
              <a:buSzTx/>
              <a:buFont typeface="Arial" panose="020B0604020202020204" pitchFamily="34" charset="0"/>
              <a:buChar char="•"/>
              <a:tabLst/>
              <a:defRPr/>
            </a:pPr>
            <a:endParaRPr lang="fi-FI" sz="1600">
              <a:latin typeface="Sweco Sans"/>
            </a:endParaRP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pic>
        <p:nvPicPr>
          <p:cNvPr id="5" name="Kuva 4">
            <a:extLst>
              <a:ext uri="{FF2B5EF4-FFF2-40B4-BE49-F238E27FC236}">
                <a16:creationId xmlns:a16="http://schemas.microsoft.com/office/drawing/2014/main" id="{9A49B636-B9F1-4545-AEEE-02F4D83FDD03}"/>
              </a:ext>
            </a:extLst>
          </p:cNvPr>
          <p:cNvPicPr>
            <a:picLocks noChangeAspect="1"/>
          </p:cNvPicPr>
          <p:nvPr/>
        </p:nvPicPr>
        <p:blipFill>
          <a:blip r:embed="rId3"/>
          <a:stretch>
            <a:fillRect/>
          </a:stretch>
        </p:blipFill>
        <p:spPr>
          <a:xfrm>
            <a:off x="5656059" y="0"/>
            <a:ext cx="4848504" cy="6858000"/>
          </a:xfrm>
          <a:prstGeom prst="rect">
            <a:avLst/>
          </a:prstGeom>
        </p:spPr>
      </p:pic>
      <p:sp>
        <p:nvSpPr>
          <p:cNvPr id="6" name="Suorakulmio: Pyöristetyt kulmat 5">
            <a:extLst>
              <a:ext uri="{FF2B5EF4-FFF2-40B4-BE49-F238E27FC236}">
                <a16:creationId xmlns:a16="http://schemas.microsoft.com/office/drawing/2014/main" id="{CFF53416-C181-4DEC-A4B2-19AB56A2238B}"/>
              </a:ext>
            </a:extLst>
          </p:cNvPr>
          <p:cNvSpPr/>
          <p:nvPr/>
        </p:nvSpPr>
        <p:spPr>
          <a:xfrm>
            <a:off x="7296540" y="4932784"/>
            <a:ext cx="696685" cy="454089"/>
          </a:xfrm>
          <a:prstGeom prst="roundRect">
            <a:avLst/>
          </a:prstGeom>
          <a:noFill/>
          <a:ln>
            <a:solidFill>
              <a:srgbClr val="B48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Suorakulmio: Pyöristetyt kulmat 8">
            <a:extLst>
              <a:ext uri="{FF2B5EF4-FFF2-40B4-BE49-F238E27FC236}">
                <a16:creationId xmlns:a16="http://schemas.microsoft.com/office/drawing/2014/main" id="{87C34ABA-8796-43F6-8FCE-226BF1A4F139}"/>
              </a:ext>
            </a:extLst>
          </p:cNvPr>
          <p:cNvSpPr/>
          <p:nvPr/>
        </p:nvSpPr>
        <p:spPr>
          <a:xfrm rot="5400000">
            <a:off x="6833117" y="1421362"/>
            <a:ext cx="516293" cy="311023"/>
          </a:xfrm>
          <a:prstGeom prst="roundRect">
            <a:avLst/>
          </a:prstGeom>
          <a:noFill/>
          <a:ln>
            <a:solidFill>
              <a:srgbClr val="B48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Suorakulmio: Pyöristetyt kulmat 10">
            <a:extLst>
              <a:ext uri="{FF2B5EF4-FFF2-40B4-BE49-F238E27FC236}">
                <a16:creationId xmlns:a16="http://schemas.microsoft.com/office/drawing/2014/main" id="{9C84D580-5336-411C-9E0F-FEC72C358697}"/>
              </a:ext>
            </a:extLst>
          </p:cNvPr>
          <p:cNvSpPr/>
          <p:nvPr/>
        </p:nvSpPr>
        <p:spPr>
          <a:xfrm rot="10800000">
            <a:off x="8154955" y="2032964"/>
            <a:ext cx="516293" cy="311023"/>
          </a:xfrm>
          <a:prstGeom prst="roundRect">
            <a:avLst/>
          </a:prstGeom>
          <a:noFill/>
          <a:ln>
            <a:solidFill>
              <a:srgbClr val="B48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5" name="Suorakulmio: Pyöristetyt kulmat 14">
            <a:extLst>
              <a:ext uri="{FF2B5EF4-FFF2-40B4-BE49-F238E27FC236}">
                <a16:creationId xmlns:a16="http://schemas.microsoft.com/office/drawing/2014/main" id="{83577552-D93C-4791-8534-9B6DE0313504}"/>
              </a:ext>
            </a:extLst>
          </p:cNvPr>
          <p:cNvSpPr/>
          <p:nvPr/>
        </p:nvSpPr>
        <p:spPr>
          <a:xfrm rot="10800000">
            <a:off x="9977534" y="3025059"/>
            <a:ext cx="706015" cy="445868"/>
          </a:xfrm>
          <a:prstGeom prst="roundRect">
            <a:avLst/>
          </a:prstGeom>
          <a:noFill/>
          <a:ln>
            <a:solidFill>
              <a:srgbClr val="B48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ekstiruutu 6">
            <a:extLst>
              <a:ext uri="{FF2B5EF4-FFF2-40B4-BE49-F238E27FC236}">
                <a16:creationId xmlns:a16="http://schemas.microsoft.com/office/drawing/2014/main" id="{DDEBF12B-1959-4B83-AF1F-3CDEA322C0C0}"/>
              </a:ext>
            </a:extLst>
          </p:cNvPr>
          <p:cNvSpPr txBox="1"/>
          <p:nvPr/>
        </p:nvSpPr>
        <p:spPr>
          <a:xfrm>
            <a:off x="10683549" y="2938032"/>
            <a:ext cx="1451624" cy="1015663"/>
          </a:xfrm>
          <a:prstGeom prst="rect">
            <a:avLst/>
          </a:prstGeom>
          <a:noFill/>
        </p:spPr>
        <p:txBody>
          <a:bodyPr wrap="square" rtlCol="0">
            <a:spAutoFit/>
          </a:bodyPr>
          <a:lstStyle/>
          <a:p>
            <a:r>
              <a:rPr lang="fi-FI" sz="1000"/>
              <a:t>Tuulivoimaselvityksessä esille nousseet alueet, joissa ei ole vielä vireillä olevaa hanketta ja jotka on esitetty kaavaluonnoksessa. </a:t>
            </a:r>
          </a:p>
        </p:txBody>
      </p:sp>
      <p:pic>
        <p:nvPicPr>
          <p:cNvPr id="3" name="Kuva 2">
            <a:extLst>
              <a:ext uri="{FF2B5EF4-FFF2-40B4-BE49-F238E27FC236}">
                <a16:creationId xmlns:a16="http://schemas.microsoft.com/office/drawing/2014/main" id="{663366D0-39F3-4490-ACCB-5DAB27F3B050}"/>
              </a:ext>
            </a:extLst>
          </p:cNvPr>
          <p:cNvPicPr>
            <a:picLocks noChangeAspect="1"/>
          </p:cNvPicPr>
          <p:nvPr/>
        </p:nvPicPr>
        <p:blipFill>
          <a:blip r:embed="rId4"/>
          <a:stretch>
            <a:fillRect/>
          </a:stretch>
        </p:blipFill>
        <p:spPr>
          <a:xfrm>
            <a:off x="10817997" y="4146331"/>
            <a:ext cx="1368915" cy="1820515"/>
          </a:xfrm>
          <a:prstGeom prst="rect">
            <a:avLst/>
          </a:prstGeom>
        </p:spPr>
      </p:pic>
    </p:spTree>
    <p:extLst>
      <p:ext uri="{BB962C8B-B14F-4D97-AF65-F5344CB8AC3E}">
        <p14:creationId xmlns:p14="http://schemas.microsoft.com/office/powerpoint/2010/main" val="1123219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B554342-D950-ADC0-565B-9487CACB0DCD}"/>
              </a:ext>
            </a:extLst>
          </p:cNvPr>
          <p:cNvSpPr>
            <a:spLocks noGrp="1"/>
          </p:cNvSpPr>
          <p:nvPr>
            <p:ph type="title"/>
          </p:nvPr>
        </p:nvSpPr>
        <p:spPr/>
        <p:txBody>
          <a:bodyPr/>
          <a:lstStyle/>
          <a:p>
            <a:r>
              <a:rPr lang="fi-FI"/>
              <a:t>Tilaisuuden ohjeistus</a:t>
            </a:r>
          </a:p>
        </p:txBody>
      </p:sp>
      <p:sp>
        <p:nvSpPr>
          <p:cNvPr id="3" name="Sisällön paikkamerkki 2">
            <a:extLst>
              <a:ext uri="{FF2B5EF4-FFF2-40B4-BE49-F238E27FC236}">
                <a16:creationId xmlns:a16="http://schemas.microsoft.com/office/drawing/2014/main" id="{2D4EEAC7-ECB9-F0F5-71DF-A470A707319F}"/>
              </a:ext>
            </a:extLst>
          </p:cNvPr>
          <p:cNvSpPr>
            <a:spLocks noGrp="1"/>
          </p:cNvSpPr>
          <p:nvPr>
            <p:ph idx="1"/>
          </p:nvPr>
        </p:nvSpPr>
        <p:spPr/>
        <p:txBody>
          <a:bodyPr vert="horz" lIns="0" tIns="0" rIns="0" bIns="0" rtlCol="0" anchor="t">
            <a:normAutofit lnSpcReduction="10000"/>
          </a:bodyPr>
          <a:lstStyle/>
          <a:p>
            <a:pPr marL="215900" indent="-215900"/>
            <a:r>
              <a:rPr lang="fi-FI" sz="1600" err="1"/>
              <a:t>Teamsissa</a:t>
            </a:r>
            <a:r>
              <a:rPr lang="fi-FI" sz="1600"/>
              <a:t> kamerat on poistettu käytöstä muilta, paitsi esittäjiltä.</a:t>
            </a:r>
            <a:endParaRPr lang="fi-FI"/>
          </a:p>
          <a:p>
            <a:pPr marL="215900" indent="-215900"/>
            <a:r>
              <a:rPr lang="fi-FI" sz="1600"/>
              <a:t>Järjestäjä jakaa puheenvuorot kysymyksiä ja kommentteja varten esitysten välissä. Esitysten aikana annetaan puheenvuoro esittelijälle ja </a:t>
            </a:r>
            <a:r>
              <a:rPr lang="fi-FI" sz="1600" err="1"/>
              <a:t>Teamsissa</a:t>
            </a:r>
            <a:r>
              <a:rPr lang="fi-FI" sz="1600"/>
              <a:t> mikrofonit mykistetään.</a:t>
            </a:r>
          </a:p>
          <a:p>
            <a:pPr marL="0" indent="0">
              <a:buNone/>
            </a:pPr>
            <a:r>
              <a:rPr lang="fi-FI" sz="1600"/>
              <a:t>	- Salissa pyydetään puheenvuoroa viittaamalla</a:t>
            </a:r>
          </a:p>
          <a:p>
            <a:pPr marL="0" indent="0">
              <a:buNone/>
            </a:pPr>
            <a:r>
              <a:rPr lang="fi-FI" sz="1600"/>
              <a:t>	- </a:t>
            </a:r>
            <a:r>
              <a:rPr lang="fi-FI" sz="1600" err="1"/>
              <a:t>Teamsissa</a:t>
            </a:r>
            <a:r>
              <a:rPr lang="fi-FI" sz="1600"/>
              <a:t> kysymyksiä/kommentteja voi esittää chattiin kirjoittamalla</a:t>
            </a:r>
          </a:p>
          <a:p>
            <a:pPr marL="0" indent="0">
              <a:buNone/>
            </a:pPr>
            <a:r>
              <a:rPr lang="fi-FI" sz="1600"/>
              <a:t>	- Jos etäyhteydellä osallistuvana haluat esittää kysymyksen suullisesti chatin sijaan, käytä ”nosta kätesi”-	ominaisuutta (ks. alla) ja odota, että järjestäjä antaa puheenvuoron.</a:t>
            </a:r>
          </a:p>
          <a:p>
            <a:pPr marL="0" indent="0">
              <a:buNone/>
            </a:pPr>
            <a:endParaRPr lang="fi-FI" sz="1600"/>
          </a:p>
          <a:p>
            <a:pPr marL="0" indent="0">
              <a:buNone/>
            </a:pPr>
            <a:endParaRPr lang="fi-FI" sz="1600"/>
          </a:p>
          <a:p>
            <a:pPr marL="0" indent="0">
              <a:buNone/>
            </a:pPr>
            <a:r>
              <a:rPr lang="fi-FI" sz="1600"/>
              <a:t>	</a:t>
            </a:r>
          </a:p>
          <a:p>
            <a:pPr marL="215900" indent="-215900"/>
            <a:r>
              <a:rPr lang="fi-FI" sz="1600"/>
              <a:t>Osallistujilta toivotaan ytimekkäitä puheenvuoroja, jotta aikaa on mahdollisimman monelle kysymykselle/kommentille.</a:t>
            </a:r>
          </a:p>
          <a:p>
            <a:pPr marL="215900" indent="-215900"/>
            <a:r>
              <a:rPr lang="fi-FI" sz="1600"/>
              <a:t>Jos </a:t>
            </a:r>
            <a:r>
              <a:rPr lang="fi-FI" sz="1600" err="1"/>
              <a:t>Teamsissa</a:t>
            </a:r>
            <a:r>
              <a:rPr lang="fi-FI" sz="1600"/>
              <a:t> kaikkiin chattiin kirjoitettuihin kysymyksiin ei ehditä vastaamaan tilaisuuden aikana, vastataan kysyjälle sähköpostitse tilaisuuden jälkeen.</a:t>
            </a:r>
          </a:p>
          <a:p>
            <a:pPr marL="215900" indent="-215900"/>
            <a:r>
              <a:rPr lang="fi-FI" sz="1600"/>
              <a:t>Palautetta valmisteluvaiheen aineistosta voi jättää myös mielipiteen muodossa </a:t>
            </a:r>
            <a:r>
              <a:rPr lang="fi-FI" sz="1600" b="1"/>
              <a:t>26.5.2022 mennessä </a:t>
            </a:r>
            <a:r>
              <a:rPr lang="fi-FI" sz="1600"/>
              <a:t>sähköisesti osoitteeseen </a:t>
            </a:r>
            <a:r>
              <a:rPr lang="fi-FI" sz="1600">
                <a:hlinkClick r:id="rId2"/>
              </a:rPr>
              <a:t>kirjaamo@ii.fi</a:t>
            </a:r>
            <a:r>
              <a:rPr lang="fi-FI" sz="1600"/>
              <a:t> tai kirjallisesti osoitteeseen Iin kunta, PL 24, 91101 Ii.</a:t>
            </a:r>
          </a:p>
          <a:p>
            <a:pPr marL="215900" indent="-215900"/>
            <a:endParaRPr lang="fi-FI" sz="1600"/>
          </a:p>
        </p:txBody>
      </p:sp>
      <p:pic>
        <p:nvPicPr>
          <p:cNvPr id="7" name="Kuva 6">
            <a:extLst>
              <a:ext uri="{FF2B5EF4-FFF2-40B4-BE49-F238E27FC236}">
                <a16:creationId xmlns:a16="http://schemas.microsoft.com/office/drawing/2014/main" id="{C7DD49CA-69AF-4247-B388-BEEA720B6C42}"/>
              </a:ext>
            </a:extLst>
          </p:cNvPr>
          <p:cNvPicPr>
            <a:picLocks noChangeAspect="1"/>
          </p:cNvPicPr>
          <p:nvPr/>
        </p:nvPicPr>
        <p:blipFill>
          <a:blip r:embed="rId3"/>
          <a:stretch>
            <a:fillRect/>
          </a:stretch>
        </p:blipFill>
        <p:spPr>
          <a:xfrm>
            <a:off x="1773712" y="3935357"/>
            <a:ext cx="2537031" cy="920640"/>
          </a:xfrm>
          <a:prstGeom prst="rect">
            <a:avLst/>
          </a:prstGeom>
        </p:spPr>
      </p:pic>
      <p:pic>
        <p:nvPicPr>
          <p:cNvPr id="8" name="Kuva 7">
            <a:extLst>
              <a:ext uri="{FF2B5EF4-FFF2-40B4-BE49-F238E27FC236}">
                <a16:creationId xmlns:a16="http://schemas.microsoft.com/office/drawing/2014/main" id="{336E73B6-18FA-42A3-A4C1-C5513FD31681}"/>
              </a:ext>
            </a:extLst>
          </p:cNvPr>
          <p:cNvPicPr>
            <a:picLocks noChangeAspect="1"/>
          </p:cNvPicPr>
          <p:nvPr/>
        </p:nvPicPr>
        <p:blipFill>
          <a:blip r:embed="rId4"/>
          <a:stretch>
            <a:fillRect/>
          </a:stretch>
        </p:blipFill>
        <p:spPr>
          <a:xfrm>
            <a:off x="466974" y="240348"/>
            <a:ext cx="1604422" cy="412865"/>
          </a:xfrm>
          <a:prstGeom prst="rect">
            <a:avLst/>
          </a:prstGeom>
        </p:spPr>
      </p:pic>
    </p:spTree>
    <p:extLst>
      <p:ext uri="{BB962C8B-B14F-4D97-AF65-F5344CB8AC3E}">
        <p14:creationId xmlns:p14="http://schemas.microsoft.com/office/powerpoint/2010/main" val="41379467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3"/>
          <a:stretch>
            <a:fillRect/>
          </a:stretch>
        </p:blipFill>
        <p:spPr>
          <a:xfrm>
            <a:off x="466974" y="259010"/>
            <a:ext cx="1604422" cy="412865"/>
          </a:xfrm>
          <a:prstGeom prst="rect">
            <a:avLst/>
          </a:prstGeom>
        </p:spPr>
      </p:pic>
      <p:pic>
        <p:nvPicPr>
          <p:cNvPr id="3" name="Kuva 2">
            <a:extLst>
              <a:ext uri="{FF2B5EF4-FFF2-40B4-BE49-F238E27FC236}">
                <a16:creationId xmlns:a16="http://schemas.microsoft.com/office/drawing/2014/main" id="{85A05E19-51B6-4B96-9225-15E91565284A}"/>
              </a:ext>
            </a:extLst>
          </p:cNvPr>
          <p:cNvPicPr>
            <a:picLocks noChangeAspect="1"/>
          </p:cNvPicPr>
          <p:nvPr/>
        </p:nvPicPr>
        <p:blipFill>
          <a:blip r:embed="rId4"/>
          <a:stretch>
            <a:fillRect/>
          </a:stretch>
        </p:blipFill>
        <p:spPr>
          <a:xfrm>
            <a:off x="3226020" y="740301"/>
            <a:ext cx="8638781" cy="5377138"/>
          </a:xfrm>
          <a:prstGeom prst="rect">
            <a:avLst/>
          </a:prstGeom>
        </p:spPr>
      </p:pic>
      <p:sp>
        <p:nvSpPr>
          <p:cNvPr id="2" name="Title 1"/>
          <p:cNvSpPr>
            <a:spLocks noGrp="1"/>
          </p:cNvSpPr>
          <p:nvPr>
            <p:ph type="title"/>
          </p:nvPr>
        </p:nvSpPr>
        <p:spPr>
          <a:xfrm>
            <a:off x="466973" y="638530"/>
            <a:ext cx="11124701" cy="887413"/>
          </a:xfrm>
        </p:spPr>
        <p:txBody>
          <a:bodyPr anchor="ctr">
            <a:normAutofit/>
          </a:bodyPr>
          <a:lstStyle/>
          <a:p>
            <a:r>
              <a:rPr lang="fi-FI" sz="2800"/>
              <a:t>Luonnonsuojelu ja maisema</a:t>
            </a:r>
          </a:p>
        </p:txBody>
      </p:sp>
      <p:sp>
        <p:nvSpPr>
          <p:cNvPr id="6" name="Sisällön paikkamerkki 2">
            <a:extLst>
              <a:ext uri="{FF2B5EF4-FFF2-40B4-BE49-F238E27FC236}">
                <a16:creationId xmlns:a16="http://schemas.microsoft.com/office/drawing/2014/main" id="{21EDD3E0-7B34-4DD0-9518-881B58D5EC0A}"/>
              </a:ext>
            </a:extLst>
          </p:cNvPr>
          <p:cNvSpPr txBox="1">
            <a:spLocks/>
          </p:cNvSpPr>
          <p:nvPr/>
        </p:nvSpPr>
        <p:spPr>
          <a:xfrm>
            <a:off x="466972" y="1403999"/>
            <a:ext cx="3632329" cy="4815211"/>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3pPr>
            <a:lvl4pPr marL="86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9pPr>
          </a:lstStyle>
          <a:p>
            <a:pPr marL="0" indent="0" algn="just">
              <a:spcBef>
                <a:spcPts val="0"/>
              </a:spcBef>
              <a:spcAft>
                <a:spcPts val="600"/>
              </a:spcAft>
              <a:buNone/>
              <a:tabLst>
                <a:tab pos="810260" algn="l"/>
                <a:tab pos="1620520" algn="l"/>
                <a:tab pos="2430780" algn="l"/>
                <a:tab pos="4050665" algn="l"/>
                <a:tab pos="5311140" algn="r"/>
              </a:tabLst>
            </a:pPr>
            <a:r>
              <a:rPr lang="fi-FI" sz="1000" b="1">
                <a:effectLst/>
                <a:ea typeface="Times New Roman" panose="02020603050405020304" pitchFamily="18" charset="0"/>
                <a:cs typeface="Times New Roman" panose="02020603050405020304" pitchFamily="18" charset="0"/>
              </a:rPr>
              <a:t>Kaavassa osoitettuja alueita ja kohteita:</a:t>
            </a:r>
          </a:p>
          <a:p>
            <a:pPr lvl="0" algn="l">
              <a:lnSpc>
                <a:spcPct val="107000"/>
              </a:lnSpc>
              <a:spcBef>
                <a:spcPts val="0"/>
              </a:spcBef>
              <a:buFont typeface="Wingdings" panose="05000000000000000000" pitchFamily="2" charset="2"/>
              <a:buChar char="§"/>
            </a:pPr>
            <a:r>
              <a:rPr lang="fi-FI" sz="1000" b="1">
                <a:effectLst/>
                <a:ea typeface="Calibri" panose="020F0502020204030204" pitchFamily="34" charset="0"/>
                <a:cs typeface="Times New Roman" panose="02020603050405020304" pitchFamily="18" charset="0"/>
              </a:rPr>
              <a:t>Natura 2000 -ohjelman alueita (13 kpl)</a:t>
            </a:r>
          </a:p>
          <a:p>
            <a:pPr lvl="0" algn="l">
              <a:lnSpc>
                <a:spcPct val="107000"/>
              </a:lnSpc>
              <a:spcBef>
                <a:spcPts val="0"/>
              </a:spcBef>
              <a:buFont typeface="Wingdings" panose="05000000000000000000" pitchFamily="2" charset="2"/>
              <a:buChar char="§"/>
            </a:pPr>
            <a:r>
              <a:rPr lang="fi-FI" sz="1000" b="1">
                <a:effectLst/>
                <a:ea typeface="Calibri" panose="020F0502020204030204" pitchFamily="34" charset="0"/>
                <a:cs typeface="Times New Roman" panose="02020603050405020304" pitchFamily="18" charset="0"/>
              </a:rPr>
              <a:t>Valtionmaiden suojelualueita (6 kpl) ja useita yksityismaan luonnonsuojelualueita</a:t>
            </a:r>
          </a:p>
          <a:p>
            <a:pPr lvl="0" algn="l">
              <a:lnSpc>
                <a:spcPct val="107000"/>
              </a:lnSpc>
              <a:spcBef>
                <a:spcPts val="0"/>
              </a:spcBef>
              <a:buFont typeface="Wingdings" panose="05000000000000000000" pitchFamily="2" charset="2"/>
              <a:buChar char="§"/>
            </a:pPr>
            <a:r>
              <a:rPr lang="fi-FI" sz="1000" b="1">
                <a:effectLst/>
                <a:ea typeface="Calibri" panose="020F0502020204030204" pitchFamily="34" charset="0"/>
                <a:cs typeface="Times New Roman" panose="02020603050405020304" pitchFamily="18" charset="0"/>
              </a:rPr>
              <a:t>lintuvesiensuojeluohjelman, soidensuojeluohjelman ja vanhojen metsien suojeluohjelman kohteita sekä soidensuojelun täydennysohjelmaehdotuksen kohteita</a:t>
            </a:r>
          </a:p>
          <a:p>
            <a:pPr lvl="0" algn="l">
              <a:lnSpc>
                <a:spcPct val="107000"/>
              </a:lnSpc>
              <a:spcBef>
                <a:spcPts val="0"/>
              </a:spcBef>
              <a:buFont typeface="Wingdings" panose="05000000000000000000" pitchFamily="2" charset="2"/>
              <a:buChar char="§"/>
            </a:pPr>
            <a:r>
              <a:rPr lang="fi-FI" sz="1000" b="1">
                <a:effectLst/>
                <a:ea typeface="Calibri" panose="020F0502020204030204" pitchFamily="34" charset="0"/>
                <a:cs typeface="Times New Roman" panose="02020603050405020304" pitchFamily="18" charset="0"/>
              </a:rPr>
              <a:t>linnuston kannalta arvokkaita alueita (IBA, FINIBA, MAALI) </a:t>
            </a:r>
          </a:p>
          <a:p>
            <a:pPr lvl="0" algn="l">
              <a:lnSpc>
                <a:spcPct val="107000"/>
              </a:lnSpc>
              <a:spcBef>
                <a:spcPts val="0"/>
              </a:spcBef>
              <a:buFont typeface="Wingdings" panose="05000000000000000000" pitchFamily="2" charset="2"/>
              <a:buChar char="§"/>
            </a:pPr>
            <a:r>
              <a:rPr lang="fi-FI" sz="1000" b="1">
                <a:effectLst/>
                <a:ea typeface="Calibri" panose="020F0502020204030204" pitchFamily="34" charset="0"/>
                <a:cs typeface="Times New Roman" panose="02020603050405020304" pitchFamily="18" charset="0"/>
              </a:rPr>
              <a:t>tuuli- ja rantakerrostumia, arvokkaita moreenimuodostumia</a:t>
            </a:r>
          </a:p>
          <a:p>
            <a:pPr lvl="0" algn="l">
              <a:lnSpc>
                <a:spcPct val="107000"/>
              </a:lnSpc>
              <a:spcBef>
                <a:spcPts val="0"/>
              </a:spcBef>
              <a:buFont typeface="Wingdings" panose="05000000000000000000" pitchFamily="2" charset="2"/>
              <a:buChar char="§"/>
            </a:pPr>
            <a:r>
              <a:rPr lang="fi-FI" sz="1000" b="1">
                <a:effectLst/>
                <a:ea typeface="Calibri" panose="020F0502020204030204" pitchFamily="34" charset="0"/>
                <a:cs typeface="Times New Roman" panose="02020603050405020304" pitchFamily="18" charset="0"/>
              </a:rPr>
              <a:t>pohjavesialueita</a:t>
            </a:r>
          </a:p>
          <a:p>
            <a:pPr lvl="0" algn="l">
              <a:lnSpc>
                <a:spcPct val="107000"/>
              </a:lnSpc>
              <a:spcBef>
                <a:spcPts val="0"/>
              </a:spcBef>
              <a:spcAft>
                <a:spcPts val="800"/>
              </a:spcAft>
              <a:buFont typeface="Wingdings" panose="05000000000000000000" pitchFamily="2" charset="2"/>
              <a:buChar char="§"/>
            </a:pPr>
            <a:r>
              <a:rPr lang="fi-FI" sz="1000" b="1">
                <a:effectLst/>
                <a:ea typeface="Calibri" panose="020F0502020204030204" pitchFamily="34" charset="0"/>
                <a:cs typeface="Times New Roman" panose="02020603050405020304" pitchFamily="18" charset="0"/>
              </a:rPr>
              <a:t>vedenalaisia luontoarvoja (merialuesuunnitelman mukaisesti)</a:t>
            </a:r>
          </a:p>
          <a:p>
            <a:pPr marL="0" indent="0" algn="just">
              <a:spcBef>
                <a:spcPts val="0"/>
              </a:spcBef>
              <a:spcAft>
                <a:spcPts val="600"/>
              </a:spcAft>
              <a:buNone/>
              <a:tabLst>
                <a:tab pos="810260" algn="l"/>
                <a:tab pos="1620520" algn="l"/>
                <a:tab pos="2430780" algn="l"/>
                <a:tab pos="4050665" algn="l"/>
                <a:tab pos="5311140" algn="r"/>
              </a:tabLst>
            </a:pPr>
            <a:r>
              <a:rPr lang="fi-FI" sz="1000" b="1">
                <a:effectLst/>
                <a:ea typeface="Times New Roman" panose="02020603050405020304" pitchFamily="18" charset="0"/>
                <a:cs typeface="Times New Roman" panose="02020603050405020304" pitchFamily="18" charset="0"/>
              </a:rPr>
              <a:t>Maiseman ja kulttuuriympäristön arvoalueita:</a:t>
            </a:r>
          </a:p>
          <a:p>
            <a:pPr lvl="0" algn="l">
              <a:lnSpc>
                <a:spcPct val="107000"/>
              </a:lnSpc>
              <a:spcBef>
                <a:spcPts val="0"/>
              </a:spcBef>
              <a:buFont typeface="Wingdings" panose="05000000000000000000" pitchFamily="2" charset="2"/>
              <a:buChar char="§"/>
            </a:pPr>
            <a:r>
              <a:rPr lang="fi-FI" sz="1000" b="1">
                <a:effectLst/>
                <a:ea typeface="Calibri" panose="020F0502020204030204" pitchFamily="34" charset="0"/>
                <a:cs typeface="Times New Roman" panose="02020603050405020304" pitchFamily="18" charset="0"/>
              </a:rPr>
              <a:t>valtakunnallisesti arvokkaita rakennettuja kulttuuriympäristöjä (RKY, 7 kpl) </a:t>
            </a:r>
          </a:p>
          <a:p>
            <a:pPr lvl="0" algn="l">
              <a:lnSpc>
                <a:spcPct val="107000"/>
              </a:lnSpc>
              <a:spcBef>
                <a:spcPts val="0"/>
              </a:spcBef>
              <a:buFont typeface="Wingdings" panose="05000000000000000000" pitchFamily="2" charset="2"/>
              <a:buChar char="§"/>
            </a:pPr>
            <a:r>
              <a:rPr lang="fi-FI" sz="1000" b="1">
                <a:effectLst/>
                <a:ea typeface="Calibri" panose="020F0502020204030204" pitchFamily="34" charset="0"/>
                <a:cs typeface="Times New Roman" panose="02020603050405020304" pitchFamily="18" charset="0"/>
              </a:rPr>
              <a:t>maakunnallisesti arvokkaita maisema-alueita (5 kpl)</a:t>
            </a:r>
          </a:p>
          <a:p>
            <a:pPr lvl="0" algn="l">
              <a:lnSpc>
                <a:spcPct val="107000"/>
              </a:lnSpc>
              <a:spcBef>
                <a:spcPts val="0"/>
              </a:spcBef>
              <a:buFont typeface="Wingdings" panose="05000000000000000000" pitchFamily="2" charset="2"/>
              <a:buChar char="§"/>
            </a:pPr>
            <a:r>
              <a:rPr lang="fi-FI" sz="1000" b="1">
                <a:effectLst/>
                <a:ea typeface="Calibri" panose="020F0502020204030204" pitchFamily="34" charset="0"/>
                <a:cs typeface="Times New Roman" panose="02020603050405020304" pitchFamily="18" charset="0"/>
              </a:rPr>
              <a:t>maakunnallisesti ja paikallisesti arvokkaita perinnemaisemia</a:t>
            </a:r>
          </a:p>
          <a:p>
            <a:pPr lvl="0" algn="l">
              <a:lnSpc>
                <a:spcPct val="107000"/>
              </a:lnSpc>
              <a:spcBef>
                <a:spcPts val="0"/>
              </a:spcBef>
              <a:spcAft>
                <a:spcPts val="800"/>
              </a:spcAft>
              <a:buFont typeface="Wingdings" panose="05000000000000000000" pitchFamily="2" charset="2"/>
              <a:buChar char="§"/>
            </a:pPr>
            <a:r>
              <a:rPr lang="fi-FI" sz="1000" b="1">
                <a:effectLst/>
                <a:ea typeface="Calibri" panose="020F0502020204030204" pitchFamily="34" charset="0"/>
                <a:cs typeface="Times New Roman" panose="02020603050405020304" pitchFamily="18" charset="0"/>
              </a:rPr>
              <a:t>muinaisjäännöksiä</a:t>
            </a:r>
          </a:p>
          <a:p>
            <a:pPr algn="just">
              <a:spcBef>
                <a:spcPts val="0"/>
              </a:spcBef>
              <a:spcAft>
                <a:spcPts val="600"/>
              </a:spcAft>
              <a:buFont typeface="Wingdings" panose="05000000000000000000" pitchFamily="2" charset="2"/>
              <a:buChar char="§"/>
              <a:tabLst>
                <a:tab pos="810260" algn="l"/>
                <a:tab pos="1620520" algn="l"/>
                <a:tab pos="2430780" algn="l"/>
                <a:tab pos="4050665" algn="l"/>
                <a:tab pos="5311140" algn="r"/>
              </a:tabLst>
            </a:pPr>
            <a:r>
              <a:rPr lang="fi-FI" sz="1000" b="1">
                <a:effectLst/>
                <a:ea typeface="Times New Roman" panose="02020603050405020304" pitchFamily="18" charset="0"/>
                <a:cs typeface="Times New Roman" panose="02020603050405020304" pitchFamily="18" charset="0"/>
              </a:rPr>
              <a:t>Osoitettu myös ohjeellisia ekologisia yhteystarpeita, joihin liittyvät osaltaan myös viheryhteystarpeet. Strateginen yleiskaava sisältää myös ajatuksen turvetuotantoalueiden jälkikäytöstä hiilinieluina, esim. kosteikkoina kunnan itäosissa.</a:t>
            </a:r>
          </a:p>
          <a:p>
            <a:pPr marL="285750" marR="0" lvl="0" indent="-285750" algn="l" defTabSz="914400" rtl="0" eaLnBrk="1" fontAlgn="auto" latinLnBrk="0" hangingPunct="1">
              <a:lnSpc>
                <a:spcPts val="2000"/>
              </a:lnSpc>
              <a:spcBef>
                <a:spcPts val="0"/>
              </a:spcBef>
              <a:spcAft>
                <a:spcPts val="1200"/>
              </a:spcAft>
              <a:buClrTx/>
              <a:buSzTx/>
              <a:buFont typeface="Arial" panose="020B0604020202020204" pitchFamily="34" charset="0"/>
              <a:buChar char="•"/>
              <a:tabLst/>
              <a:defRPr/>
            </a:pPr>
            <a:endParaRPr kumimoji="0" lang="fi-FI" sz="1600" b="0" i="0" u="none" strike="noStrike" kern="1200" cap="none" spc="0" normalizeH="0" baseline="0" noProof="0">
              <a:ln>
                <a:noFill/>
              </a:ln>
              <a:effectLst/>
              <a:uLnTx/>
              <a:uFillTx/>
              <a:latin typeface="Sweco Sans"/>
              <a:ea typeface="+mn-ea"/>
              <a:cs typeface="+mn-cs"/>
            </a:endParaRPr>
          </a:p>
        </p:txBody>
      </p:sp>
    </p:spTree>
    <p:extLst>
      <p:ext uri="{BB962C8B-B14F-4D97-AF65-F5344CB8AC3E}">
        <p14:creationId xmlns:p14="http://schemas.microsoft.com/office/powerpoint/2010/main" val="6649520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3"/>
          <a:stretch>
            <a:fillRect/>
          </a:stretch>
        </p:blipFill>
        <p:spPr>
          <a:xfrm>
            <a:off x="466974" y="259010"/>
            <a:ext cx="1604422" cy="412865"/>
          </a:xfrm>
          <a:prstGeom prst="rect">
            <a:avLst/>
          </a:prstGeom>
        </p:spPr>
      </p:pic>
      <p:pic>
        <p:nvPicPr>
          <p:cNvPr id="7" name="Kuva 6">
            <a:extLst>
              <a:ext uri="{FF2B5EF4-FFF2-40B4-BE49-F238E27FC236}">
                <a16:creationId xmlns:a16="http://schemas.microsoft.com/office/drawing/2014/main" id="{0319881A-D9FA-4A9B-88A7-5D0A4342EB08}"/>
              </a:ext>
            </a:extLst>
          </p:cNvPr>
          <p:cNvPicPr>
            <a:picLocks noChangeAspect="1"/>
          </p:cNvPicPr>
          <p:nvPr/>
        </p:nvPicPr>
        <p:blipFill>
          <a:blip r:embed="rId4"/>
          <a:stretch>
            <a:fillRect/>
          </a:stretch>
        </p:blipFill>
        <p:spPr>
          <a:xfrm>
            <a:off x="1159396" y="671875"/>
            <a:ext cx="9873208" cy="6156235"/>
          </a:xfrm>
          <a:prstGeom prst="rect">
            <a:avLst/>
          </a:prstGeom>
        </p:spPr>
      </p:pic>
      <p:sp>
        <p:nvSpPr>
          <p:cNvPr id="2" name="Title 1"/>
          <p:cNvSpPr>
            <a:spLocks noGrp="1"/>
          </p:cNvSpPr>
          <p:nvPr>
            <p:ph type="title"/>
          </p:nvPr>
        </p:nvSpPr>
        <p:spPr>
          <a:xfrm>
            <a:off x="2202467" y="124480"/>
            <a:ext cx="11124701" cy="887413"/>
          </a:xfrm>
        </p:spPr>
        <p:txBody>
          <a:bodyPr anchor="ctr">
            <a:normAutofit/>
          </a:bodyPr>
          <a:lstStyle/>
          <a:p>
            <a:r>
              <a:rPr lang="fi-FI" sz="2800"/>
              <a:t>Matkailu, virkistys ja reitit</a:t>
            </a:r>
          </a:p>
        </p:txBody>
      </p:sp>
    </p:spTree>
    <p:extLst>
      <p:ext uri="{BB962C8B-B14F-4D97-AF65-F5344CB8AC3E}">
        <p14:creationId xmlns:p14="http://schemas.microsoft.com/office/powerpoint/2010/main" val="42003169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974" y="740301"/>
            <a:ext cx="11124701" cy="887413"/>
          </a:xfrm>
        </p:spPr>
        <p:txBody>
          <a:bodyPr anchor="ctr">
            <a:normAutofit/>
          </a:bodyPr>
          <a:lstStyle/>
          <a:p>
            <a:r>
              <a:rPr lang="fi-FI" sz="2800"/>
              <a:t>Liikenne</a:t>
            </a: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pic>
        <p:nvPicPr>
          <p:cNvPr id="3" name="Kuva 2">
            <a:extLst>
              <a:ext uri="{FF2B5EF4-FFF2-40B4-BE49-F238E27FC236}">
                <a16:creationId xmlns:a16="http://schemas.microsoft.com/office/drawing/2014/main" id="{649F2464-DFEC-4053-800F-15EEB23062D4}"/>
              </a:ext>
            </a:extLst>
          </p:cNvPr>
          <p:cNvPicPr>
            <a:picLocks noChangeAspect="1"/>
          </p:cNvPicPr>
          <p:nvPr/>
        </p:nvPicPr>
        <p:blipFill>
          <a:blip r:embed="rId3"/>
          <a:stretch>
            <a:fillRect/>
          </a:stretch>
        </p:blipFill>
        <p:spPr>
          <a:xfrm>
            <a:off x="3256697" y="863501"/>
            <a:ext cx="8638781" cy="5377138"/>
          </a:xfrm>
          <a:prstGeom prst="rect">
            <a:avLst/>
          </a:prstGeom>
        </p:spPr>
      </p:pic>
      <p:pic>
        <p:nvPicPr>
          <p:cNvPr id="5" name="Kuva 4">
            <a:extLst>
              <a:ext uri="{FF2B5EF4-FFF2-40B4-BE49-F238E27FC236}">
                <a16:creationId xmlns:a16="http://schemas.microsoft.com/office/drawing/2014/main" id="{E5B2543B-EC7D-4889-8ADD-CE1833C49219}"/>
              </a:ext>
            </a:extLst>
          </p:cNvPr>
          <p:cNvPicPr>
            <a:picLocks noChangeAspect="1"/>
          </p:cNvPicPr>
          <p:nvPr/>
        </p:nvPicPr>
        <p:blipFill>
          <a:blip r:embed="rId4"/>
          <a:stretch>
            <a:fillRect/>
          </a:stretch>
        </p:blipFill>
        <p:spPr>
          <a:xfrm>
            <a:off x="466974" y="1696140"/>
            <a:ext cx="2968459" cy="2519399"/>
          </a:xfrm>
          <a:prstGeom prst="rect">
            <a:avLst/>
          </a:prstGeom>
        </p:spPr>
      </p:pic>
    </p:spTree>
    <p:extLst>
      <p:ext uri="{BB962C8B-B14F-4D97-AF65-F5344CB8AC3E}">
        <p14:creationId xmlns:p14="http://schemas.microsoft.com/office/powerpoint/2010/main" val="24788051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974" y="671875"/>
            <a:ext cx="11124701" cy="887413"/>
          </a:xfrm>
        </p:spPr>
        <p:txBody>
          <a:bodyPr anchor="ctr">
            <a:normAutofit/>
          </a:bodyPr>
          <a:lstStyle/>
          <a:p>
            <a:r>
              <a:rPr lang="fi-FI" sz="2800"/>
              <a:t>Liikenne: valtatien 4 kehittäminen</a:t>
            </a: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sp>
        <p:nvSpPr>
          <p:cNvPr id="7" name="Sisällön paikkamerkki 2">
            <a:extLst>
              <a:ext uri="{FF2B5EF4-FFF2-40B4-BE49-F238E27FC236}">
                <a16:creationId xmlns:a16="http://schemas.microsoft.com/office/drawing/2014/main" id="{BAD157AA-1239-4F2A-9023-4307473082A8}"/>
              </a:ext>
            </a:extLst>
          </p:cNvPr>
          <p:cNvSpPr txBox="1">
            <a:spLocks/>
          </p:cNvSpPr>
          <p:nvPr/>
        </p:nvSpPr>
        <p:spPr>
          <a:xfrm>
            <a:off x="466974" y="1425552"/>
            <a:ext cx="5329392" cy="4760573"/>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3pPr>
            <a:lvl4pPr marL="86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9pPr>
          </a:lstStyle>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400">
                <a:latin typeface="Sweco Sans"/>
              </a:rPr>
              <a:t>Valtatien 4 kehittämiseen liittyen laaditaan parhaillaan liikennetarkasteluja. Pohjois-Pohjanmaan ELY-keskuksen konsulttina toimii Destia. Suunnittelu sijoittuu Pohjois-Iin ja Kuivanimen välille, Olhavan, Merihelmen ja Kuivaniemen kohtiin. Toimeksiannon mukainen tarkastelu ei koske Iin taajaman kohtaa. </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400">
                <a:latin typeface="Sweco Sans"/>
              </a:rPr>
              <a:t>Kehittämisvaihtoehdot on tavoitteena asettaa nähtäville strategisen yleiskaavan valmisteluaineiston yhteydessä. Valmiissa kaavassa valitut ratkaisut esitetään yleispiirteisellä tasolla. Ratkaisut tarkentuvat myöhemmin maantielain mukaisissa suunnitteluprosesseissa. </a:t>
            </a:r>
          </a:p>
          <a:p>
            <a:pPr marL="0" marR="0" lvl="0" indent="0" algn="l" defTabSz="914400" rtl="0" eaLnBrk="1" fontAlgn="auto" latinLnBrk="0" hangingPunct="1">
              <a:lnSpc>
                <a:spcPts val="2000"/>
              </a:lnSpc>
              <a:spcBef>
                <a:spcPts val="0"/>
              </a:spcBef>
              <a:buClrTx/>
              <a:buSzTx/>
              <a:buNone/>
              <a:tabLst/>
              <a:defRPr/>
            </a:pPr>
            <a:r>
              <a:rPr lang="fi-FI" sz="1600">
                <a:solidFill>
                  <a:srgbClr val="0070C0"/>
                </a:solidFill>
                <a:latin typeface="Sweco Sans"/>
              </a:rPr>
              <a:t>Yhteysvälin kehittämisen tavoitteet:</a:t>
            </a:r>
          </a:p>
          <a:p>
            <a:pPr marR="0" lvl="0" algn="l" defTabSz="914400" rtl="0" eaLnBrk="1" fontAlgn="auto" latinLnBrk="0" hangingPunct="1">
              <a:lnSpc>
                <a:spcPts val="2000"/>
              </a:lnSpc>
              <a:spcBef>
                <a:spcPts val="0"/>
              </a:spcBef>
              <a:buClrTx/>
              <a:buSzTx/>
              <a:buFont typeface="Wingdings" panose="05000000000000000000" pitchFamily="2" charset="2"/>
              <a:buChar char="§"/>
              <a:tabLst/>
              <a:defRPr/>
            </a:pPr>
            <a:r>
              <a:rPr lang="fi-FI" sz="1400">
                <a:latin typeface="Sweco Sans"/>
              </a:rPr>
              <a:t>Valtatie 4 välillä Pohjois-Ii - Kuivaniemi on jatkuva keskikaiteellinen ohituskaistatie myös taajamien kohdilla</a:t>
            </a:r>
          </a:p>
          <a:p>
            <a:pPr marR="0" lvl="0" algn="l" defTabSz="914400" rtl="0" eaLnBrk="1" fontAlgn="auto" latinLnBrk="0" hangingPunct="1">
              <a:lnSpc>
                <a:spcPts val="2000"/>
              </a:lnSpc>
              <a:spcBef>
                <a:spcPts val="0"/>
              </a:spcBef>
              <a:buClrTx/>
              <a:buSzTx/>
              <a:buFont typeface="Wingdings" panose="05000000000000000000" pitchFamily="2" charset="2"/>
              <a:buChar char="§"/>
              <a:tabLst/>
              <a:defRPr/>
            </a:pPr>
            <a:r>
              <a:rPr lang="fi-FI" sz="1400">
                <a:latin typeface="Sweco Sans"/>
              </a:rPr>
              <a:t>Liittymät ovat eritasoliittymiä</a:t>
            </a:r>
          </a:p>
          <a:p>
            <a:pPr marR="0" lvl="0" algn="l" defTabSz="914400" rtl="0" eaLnBrk="1" fontAlgn="auto" latinLnBrk="0" hangingPunct="1">
              <a:lnSpc>
                <a:spcPts val="2000"/>
              </a:lnSpc>
              <a:spcBef>
                <a:spcPts val="0"/>
              </a:spcBef>
              <a:buClrTx/>
              <a:buSzTx/>
              <a:buFont typeface="Wingdings" panose="05000000000000000000" pitchFamily="2" charset="2"/>
              <a:buChar char="§"/>
              <a:tabLst/>
              <a:defRPr/>
            </a:pPr>
            <a:r>
              <a:rPr lang="fi-FI" sz="1400">
                <a:latin typeface="Sweco Sans"/>
              </a:rPr>
              <a:t>Valtatien tavoitenopeus on 100 km/h, lyhyellä matkalla reunaehtojen takia 80 km/h nopeusrajoitus hyväksyttävä (mm. Kuivaniemen taajama)</a:t>
            </a:r>
          </a:p>
        </p:txBody>
      </p:sp>
      <p:sp>
        <p:nvSpPr>
          <p:cNvPr id="8" name="Tekstiruutu 7">
            <a:extLst>
              <a:ext uri="{FF2B5EF4-FFF2-40B4-BE49-F238E27FC236}">
                <a16:creationId xmlns:a16="http://schemas.microsoft.com/office/drawing/2014/main" id="{3656165F-08A9-4218-BAA5-130D8020E0CA}"/>
              </a:ext>
            </a:extLst>
          </p:cNvPr>
          <p:cNvSpPr txBox="1"/>
          <p:nvPr/>
        </p:nvSpPr>
        <p:spPr>
          <a:xfrm>
            <a:off x="6029324" y="6070419"/>
            <a:ext cx="2986007" cy="261610"/>
          </a:xfrm>
          <a:prstGeom prst="rect">
            <a:avLst/>
          </a:prstGeom>
          <a:noFill/>
        </p:spPr>
        <p:txBody>
          <a:bodyPr wrap="square" rtlCol="0">
            <a:spAutoFit/>
          </a:bodyPr>
          <a:lstStyle/>
          <a:p>
            <a:r>
              <a:rPr lang="fi-FI" sz="1100" i="1"/>
              <a:t>Tarkasteltavat tieosuudet (lähde: Destia)</a:t>
            </a:r>
          </a:p>
        </p:txBody>
      </p:sp>
      <p:pic>
        <p:nvPicPr>
          <p:cNvPr id="3" name="Kuva 2">
            <a:extLst>
              <a:ext uri="{FF2B5EF4-FFF2-40B4-BE49-F238E27FC236}">
                <a16:creationId xmlns:a16="http://schemas.microsoft.com/office/drawing/2014/main" id="{0E7B522F-77D0-4BBF-8043-09950039F921}"/>
              </a:ext>
            </a:extLst>
          </p:cNvPr>
          <p:cNvPicPr>
            <a:picLocks noChangeAspect="1"/>
          </p:cNvPicPr>
          <p:nvPr/>
        </p:nvPicPr>
        <p:blipFill>
          <a:blip r:embed="rId3"/>
          <a:stretch>
            <a:fillRect/>
          </a:stretch>
        </p:blipFill>
        <p:spPr>
          <a:xfrm>
            <a:off x="6096000" y="162883"/>
            <a:ext cx="4304149" cy="5907536"/>
          </a:xfrm>
          <a:prstGeom prst="rect">
            <a:avLst/>
          </a:prstGeom>
        </p:spPr>
      </p:pic>
    </p:spTree>
    <p:extLst>
      <p:ext uri="{BB962C8B-B14F-4D97-AF65-F5344CB8AC3E}">
        <p14:creationId xmlns:p14="http://schemas.microsoft.com/office/powerpoint/2010/main" val="3105707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tsikko 5">
            <a:extLst>
              <a:ext uri="{FF2B5EF4-FFF2-40B4-BE49-F238E27FC236}">
                <a16:creationId xmlns:a16="http://schemas.microsoft.com/office/drawing/2014/main" id="{FCE6773D-316D-4106-97A3-ABF64684D0BB}"/>
              </a:ext>
            </a:extLst>
          </p:cNvPr>
          <p:cNvSpPr>
            <a:spLocks noGrp="1"/>
          </p:cNvSpPr>
          <p:nvPr>
            <p:ph type="title"/>
          </p:nvPr>
        </p:nvSpPr>
        <p:spPr/>
        <p:txBody>
          <a:bodyPr/>
          <a:lstStyle/>
          <a:p>
            <a:endParaRPr lang="fi-FI"/>
          </a:p>
        </p:txBody>
      </p:sp>
      <p:sp>
        <p:nvSpPr>
          <p:cNvPr id="7" name="Sisällön paikkamerkki 6">
            <a:extLst>
              <a:ext uri="{FF2B5EF4-FFF2-40B4-BE49-F238E27FC236}">
                <a16:creationId xmlns:a16="http://schemas.microsoft.com/office/drawing/2014/main" id="{12C268C3-5A6E-411F-9191-0251E3C06065}"/>
              </a:ext>
            </a:extLst>
          </p:cNvPr>
          <p:cNvSpPr>
            <a:spLocks noGrp="1"/>
          </p:cNvSpPr>
          <p:nvPr>
            <p:ph idx="1"/>
          </p:nvPr>
        </p:nvSpPr>
        <p:spPr/>
        <p:txBody>
          <a:bodyPr/>
          <a:lstStyle/>
          <a:p>
            <a:r>
              <a:rPr lang="fi-FI"/>
              <a:t>S. 14 koko </a:t>
            </a:r>
            <a:r>
              <a:rPr lang="fi-FI" err="1"/>
              <a:t>vt</a:t>
            </a:r>
            <a:r>
              <a:rPr lang="fi-FI"/>
              <a:t> 4 tavoite</a:t>
            </a:r>
          </a:p>
        </p:txBody>
      </p:sp>
      <p:sp>
        <p:nvSpPr>
          <p:cNvPr id="4" name="Päivämäärän paikkamerkki 3">
            <a:extLst>
              <a:ext uri="{FF2B5EF4-FFF2-40B4-BE49-F238E27FC236}">
                <a16:creationId xmlns:a16="http://schemas.microsoft.com/office/drawing/2014/main" id="{BDE5A997-B709-4BD9-9D8D-DC2B66643299}"/>
              </a:ext>
            </a:extLst>
          </p:cNvPr>
          <p:cNvSpPr>
            <a:spLocks noGrp="1"/>
          </p:cNvSpPr>
          <p:nvPr>
            <p:ph type="dt" sz="half" idx="2"/>
          </p:nvPr>
        </p:nvSpPr>
        <p:spPr/>
        <p:txBody>
          <a:bodyPr/>
          <a:lstStyle/>
          <a:p>
            <a:pPr marL="0" marR="0" lvl="0" indent="0" algn="r" defTabSz="914400" rtl="0" eaLnBrk="1" fontAlgn="auto" latinLnBrk="0" hangingPunct="1">
              <a:lnSpc>
                <a:spcPct val="110000"/>
              </a:lnSpc>
              <a:spcBef>
                <a:spcPts val="0"/>
              </a:spcBef>
              <a:spcAft>
                <a:spcPts val="0"/>
              </a:spcAft>
              <a:buClr>
                <a:srgbClr val="003883"/>
              </a:buClr>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26.4.2022   |   </a:t>
            </a:r>
            <a:endParaRPr kumimoji="0" lang="fi-FI" sz="1600" b="0" i="0" u="none" strike="noStrike" kern="1200" cap="none" spc="0" normalizeH="0" baseline="0" noProof="0">
              <a:ln>
                <a:noFill/>
              </a:ln>
              <a:solidFill>
                <a:prstClr val="white"/>
              </a:solidFill>
              <a:effectLst/>
              <a:uLnTx/>
              <a:uFillTx/>
              <a:latin typeface="Arial"/>
              <a:ea typeface="+mn-ea"/>
              <a:cs typeface="+mn-cs"/>
            </a:endParaRPr>
          </a:p>
        </p:txBody>
      </p:sp>
      <p:sp>
        <p:nvSpPr>
          <p:cNvPr id="5" name="Alatunnisteen paikkamerkki 4">
            <a:extLst>
              <a:ext uri="{FF2B5EF4-FFF2-40B4-BE49-F238E27FC236}">
                <a16:creationId xmlns:a16="http://schemas.microsoft.com/office/drawing/2014/main" id="{357731D1-5E92-4B65-9C97-156D6956DBA5}"/>
              </a:ext>
            </a:extLst>
          </p:cNvPr>
          <p:cNvSpPr>
            <a:spLocks noGrp="1"/>
          </p:cNvSpPr>
          <p:nvPr>
            <p:ph type="ftr" sz="quarter" idx="3"/>
          </p:nvPr>
        </p:nvSpPr>
        <p:spPr/>
        <p:txBody>
          <a:bodyPr/>
          <a:lstStyle/>
          <a:p>
            <a:pPr marL="0" marR="0" lvl="0" indent="0" algn="l" defTabSz="914400" rtl="0" eaLnBrk="1" fontAlgn="auto" latinLnBrk="0" hangingPunct="1">
              <a:lnSpc>
                <a:spcPct val="110000"/>
              </a:lnSpc>
              <a:spcBef>
                <a:spcPts val="0"/>
              </a:spcBef>
              <a:spcAft>
                <a:spcPts val="0"/>
              </a:spcAft>
              <a:buClr>
                <a:srgbClr val="003883"/>
              </a:buClr>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Päivi Hautaniemi</a:t>
            </a:r>
            <a:endParaRPr kumimoji="0" lang="fi-FI" sz="1600" b="0" i="0" u="none" strike="noStrike" kern="1200" cap="none" spc="0" normalizeH="0" baseline="0" noProof="0">
              <a:ln>
                <a:noFill/>
              </a:ln>
              <a:solidFill>
                <a:prstClr val="white"/>
              </a:solidFill>
              <a:effectLst/>
              <a:uLnTx/>
              <a:uFillTx/>
              <a:latin typeface="Arial"/>
              <a:ea typeface="+mn-ea"/>
              <a:cs typeface="+mn-cs"/>
            </a:endParaRPr>
          </a:p>
        </p:txBody>
      </p:sp>
      <p:sp>
        <p:nvSpPr>
          <p:cNvPr id="8" name="Dian numeron paikkamerkki 7">
            <a:extLst>
              <a:ext uri="{FF2B5EF4-FFF2-40B4-BE49-F238E27FC236}">
                <a16:creationId xmlns:a16="http://schemas.microsoft.com/office/drawing/2014/main" id="{5A26A7D7-53AF-4D09-AE14-E8ACFAB37352}"/>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3D2D5F4-4871-4469-8343-ED7F6811B37D}" type="slidenum">
              <a:rPr kumimoji="0" lang="fi-FI"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fi-FI" sz="900" b="0" i="0" u="none" strike="noStrike" kern="1200" cap="none" spc="0" normalizeH="0" baseline="0" noProof="0">
              <a:ln>
                <a:noFill/>
              </a:ln>
              <a:solidFill>
                <a:prstClr val="black"/>
              </a:solidFill>
              <a:effectLst/>
              <a:uLnTx/>
              <a:uFillTx/>
              <a:latin typeface="Arial"/>
              <a:ea typeface="+mn-ea"/>
              <a:cs typeface="+mn-cs"/>
            </a:endParaRPr>
          </a:p>
        </p:txBody>
      </p:sp>
      <p:pic>
        <p:nvPicPr>
          <p:cNvPr id="3" name="Kuva 2">
            <a:extLst>
              <a:ext uri="{FF2B5EF4-FFF2-40B4-BE49-F238E27FC236}">
                <a16:creationId xmlns:a16="http://schemas.microsoft.com/office/drawing/2014/main" id="{5FE9B325-20D8-485E-B9A0-FECBDE1F166C}"/>
              </a:ext>
            </a:extLst>
          </p:cNvPr>
          <p:cNvPicPr>
            <a:picLocks noChangeAspect="1"/>
          </p:cNvPicPr>
          <p:nvPr/>
        </p:nvPicPr>
        <p:blipFill>
          <a:blip r:embed="rId2"/>
          <a:stretch>
            <a:fillRect/>
          </a:stretch>
        </p:blipFill>
        <p:spPr>
          <a:xfrm>
            <a:off x="123825" y="67083"/>
            <a:ext cx="12068175" cy="6723834"/>
          </a:xfrm>
          <a:prstGeom prst="rect">
            <a:avLst/>
          </a:prstGeom>
        </p:spPr>
      </p:pic>
      <p:sp>
        <p:nvSpPr>
          <p:cNvPr id="9" name="Tekstiruutu 8">
            <a:extLst>
              <a:ext uri="{FF2B5EF4-FFF2-40B4-BE49-F238E27FC236}">
                <a16:creationId xmlns:a16="http://schemas.microsoft.com/office/drawing/2014/main" id="{88ED5D26-A316-4420-8821-0A016614E6A2}"/>
              </a:ext>
            </a:extLst>
          </p:cNvPr>
          <p:cNvSpPr txBox="1"/>
          <p:nvPr/>
        </p:nvSpPr>
        <p:spPr>
          <a:xfrm>
            <a:off x="217499" y="1212320"/>
            <a:ext cx="2758787" cy="1107996"/>
          </a:xfrm>
          <a:prstGeom prst="rect">
            <a:avLst/>
          </a:prstGeom>
          <a:noFill/>
        </p:spPr>
        <p:txBody>
          <a:bodyPr wrap="square" lIns="0" tIns="0" rIns="0" bIns="0" rtlCol="0" anchor="t">
            <a:spAutoFit/>
          </a:bodyPr>
          <a:lstStyle/>
          <a:p>
            <a:pPr>
              <a:defRPr/>
            </a:pPr>
            <a:r>
              <a:rPr kumimoji="0" lang="fi-FI" sz="1800" b="0" i="0" u="none" strike="noStrike" kern="1200" cap="none" spc="0" normalizeH="0" baseline="0" noProof="0" err="1">
                <a:ln>
                  <a:noFill/>
                </a:ln>
                <a:effectLst/>
                <a:uLnTx/>
                <a:uFillTx/>
                <a:latin typeface="Arial"/>
                <a:ea typeface="+mn-ea"/>
                <a:cs typeface="+mn-cs"/>
              </a:rPr>
              <a:t>Vt</a:t>
            </a:r>
            <a:r>
              <a:rPr kumimoji="0" lang="fi-FI" sz="1800" b="0" i="0" u="none" strike="noStrike" kern="1200" cap="none" spc="0" normalizeH="0" baseline="0" noProof="0">
                <a:ln>
                  <a:noFill/>
                </a:ln>
                <a:effectLst/>
                <a:uLnTx/>
                <a:uFillTx/>
                <a:latin typeface="Arial"/>
                <a:ea typeface="+mn-ea"/>
                <a:cs typeface="+mn-cs"/>
              </a:rPr>
              <a:t> 4 </a:t>
            </a:r>
            <a:r>
              <a:rPr lang="fi-FI">
                <a:latin typeface="Arial"/>
              </a:rPr>
              <a:t>on</a:t>
            </a:r>
            <a:r>
              <a:rPr kumimoji="0" lang="fi-FI" sz="1800" b="0" i="0" u="none" strike="noStrike" kern="1200" cap="none" spc="0" normalizeH="0" baseline="0" noProof="0">
                <a:ln>
                  <a:noFill/>
                </a:ln>
                <a:effectLst/>
                <a:uLnTx/>
                <a:uFillTx/>
                <a:latin typeface="Arial"/>
                <a:ea typeface="+mn-ea"/>
                <a:cs typeface="+mn-cs"/>
              </a:rPr>
              <a:t> pääväyläasetuksen mukainen </a:t>
            </a:r>
            <a:r>
              <a:rPr lang="fi-FI">
                <a:latin typeface="Arial"/>
              </a:rPr>
              <a:t>pääväylä ja kuluu TEN-T –ydinverkkokäytävään</a:t>
            </a:r>
            <a:endParaRPr kumimoji="0" lang="fi-FI" sz="1800" b="0" i="0" u="none" strike="noStrike" kern="1200" cap="none" spc="0" normalizeH="0" baseline="0" noProof="0">
              <a:ln>
                <a:noFill/>
              </a:ln>
              <a:effectLst/>
              <a:uLnTx/>
              <a:uFillTx/>
              <a:latin typeface="Arial"/>
              <a:ea typeface="+mn-ea"/>
              <a:cs typeface="+mn-cs"/>
            </a:endParaRPr>
          </a:p>
        </p:txBody>
      </p:sp>
    </p:spTree>
    <p:extLst>
      <p:ext uri="{BB962C8B-B14F-4D97-AF65-F5344CB8AC3E}">
        <p14:creationId xmlns:p14="http://schemas.microsoft.com/office/powerpoint/2010/main" val="2860468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CA8F897E-2523-4B56-BB41-2343B0F0B11D}"/>
              </a:ext>
            </a:extLst>
          </p:cNvPr>
          <p:cNvSpPr>
            <a:spLocks noGrp="1"/>
          </p:cNvSpPr>
          <p:nvPr>
            <p:ph idx="1"/>
          </p:nvPr>
        </p:nvSpPr>
        <p:spPr/>
        <p:txBody>
          <a:bodyPr/>
          <a:lstStyle/>
          <a:p>
            <a:endParaRPr lang="fi-FI"/>
          </a:p>
        </p:txBody>
      </p:sp>
      <p:sp>
        <p:nvSpPr>
          <p:cNvPr id="4" name="Dian numeron paikkamerkki 3">
            <a:extLst>
              <a:ext uri="{FF2B5EF4-FFF2-40B4-BE49-F238E27FC236}">
                <a16:creationId xmlns:a16="http://schemas.microsoft.com/office/drawing/2014/main" id="{0D11A67D-AEEE-45CA-8FB4-48E49A3E9EEB}"/>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3D2D5F4-4871-4469-8343-ED7F6811B37D}" type="slidenum">
              <a:rPr kumimoji="0" lang="fi-FI"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fi-FI" sz="900" b="0" i="0" u="none" strike="noStrike" kern="1200" cap="none" spc="0" normalizeH="0" baseline="0" noProof="0">
              <a:ln>
                <a:noFill/>
              </a:ln>
              <a:solidFill>
                <a:prstClr val="black"/>
              </a:solidFill>
              <a:effectLst/>
              <a:uLnTx/>
              <a:uFillTx/>
              <a:latin typeface="Arial"/>
              <a:ea typeface="+mn-ea"/>
              <a:cs typeface="+mn-cs"/>
            </a:endParaRPr>
          </a:p>
        </p:txBody>
      </p:sp>
      <p:sp>
        <p:nvSpPr>
          <p:cNvPr id="5" name="Päivämäärän paikkamerkki 4">
            <a:extLst>
              <a:ext uri="{FF2B5EF4-FFF2-40B4-BE49-F238E27FC236}">
                <a16:creationId xmlns:a16="http://schemas.microsoft.com/office/drawing/2014/main" id="{32404DCE-3E78-4059-AB73-50A1E8E64E74}"/>
              </a:ext>
            </a:extLst>
          </p:cNvPr>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26.4.2022   |   </a:t>
            </a:r>
          </a:p>
        </p:txBody>
      </p:sp>
      <p:sp>
        <p:nvSpPr>
          <p:cNvPr id="6" name="Alatunnisteen paikkamerkki 5">
            <a:extLst>
              <a:ext uri="{FF2B5EF4-FFF2-40B4-BE49-F238E27FC236}">
                <a16:creationId xmlns:a16="http://schemas.microsoft.com/office/drawing/2014/main" id="{F74D4431-4C8F-4436-B1EC-2823B7E3A73A}"/>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Päivi Hautaniemi</a:t>
            </a:r>
          </a:p>
        </p:txBody>
      </p:sp>
      <p:sp>
        <p:nvSpPr>
          <p:cNvPr id="8" name="Otsikko 7">
            <a:extLst>
              <a:ext uri="{FF2B5EF4-FFF2-40B4-BE49-F238E27FC236}">
                <a16:creationId xmlns:a16="http://schemas.microsoft.com/office/drawing/2014/main" id="{CCC28FAE-6A94-4C08-AE43-6B28BBF9E742}"/>
              </a:ext>
            </a:extLst>
          </p:cNvPr>
          <p:cNvSpPr>
            <a:spLocks noGrp="1"/>
          </p:cNvSpPr>
          <p:nvPr>
            <p:ph type="title"/>
          </p:nvPr>
        </p:nvSpPr>
        <p:spPr/>
        <p:txBody>
          <a:bodyPr/>
          <a:lstStyle/>
          <a:p>
            <a:endParaRPr lang="fi-FI"/>
          </a:p>
        </p:txBody>
      </p:sp>
      <p:pic>
        <p:nvPicPr>
          <p:cNvPr id="10" name="Kuva 9">
            <a:extLst>
              <a:ext uri="{FF2B5EF4-FFF2-40B4-BE49-F238E27FC236}">
                <a16:creationId xmlns:a16="http://schemas.microsoft.com/office/drawing/2014/main" id="{0EAB47A2-5C73-4976-9BE0-FB8B343F7FC0}"/>
              </a:ext>
            </a:extLst>
          </p:cNvPr>
          <p:cNvPicPr>
            <a:picLocks noChangeAspect="1"/>
          </p:cNvPicPr>
          <p:nvPr/>
        </p:nvPicPr>
        <p:blipFill>
          <a:blip r:embed="rId2"/>
          <a:stretch>
            <a:fillRect/>
          </a:stretch>
        </p:blipFill>
        <p:spPr>
          <a:xfrm>
            <a:off x="164306" y="65891"/>
            <a:ext cx="11863388" cy="6637185"/>
          </a:xfrm>
          <a:prstGeom prst="rect">
            <a:avLst/>
          </a:prstGeom>
        </p:spPr>
      </p:pic>
      <p:sp>
        <p:nvSpPr>
          <p:cNvPr id="11" name="Tekstiruutu 10">
            <a:extLst>
              <a:ext uri="{FF2B5EF4-FFF2-40B4-BE49-F238E27FC236}">
                <a16:creationId xmlns:a16="http://schemas.microsoft.com/office/drawing/2014/main" id="{8F8862F9-7011-4CAA-B840-C96F91E82789}"/>
              </a:ext>
            </a:extLst>
          </p:cNvPr>
          <p:cNvSpPr txBox="1"/>
          <p:nvPr/>
        </p:nvSpPr>
        <p:spPr>
          <a:xfrm>
            <a:off x="6434355" y="5276675"/>
            <a:ext cx="4177719"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prstClr val="black"/>
                </a:solidFill>
                <a:effectLst/>
                <a:uLnTx/>
                <a:uFillTx/>
                <a:latin typeface="Arial"/>
                <a:ea typeface="+mn-ea"/>
                <a:cs typeface="+mn-cs"/>
              </a:rPr>
              <a:t>-&gt; jatkuva keskikaiteellinen ohituskaistatie tullee vaatimaan jatkuvan maantietasoisen rinnakkaistien</a:t>
            </a:r>
          </a:p>
        </p:txBody>
      </p:sp>
    </p:spTree>
    <p:extLst>
      <p:ext uri="{BB962C8B-B14F-4D97-AF65-F5344CB8AC3E}">
        <p14:creationId xmlns:p14="http://schemas.microsoft.com/office/powerpoint/2010/main" val="2820644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40E6D9F9-FA01-4A96-900A-8DBAF07E806C}"/>
              </a:ext>
            </a:extLst>
          </p:cNvPr>
          <p:cNvSpPr>
            <a:spLocks noGrp="1"/>
          </p:cNvSpPr>
          <p:nvPr>
            <p:ph type="title"/>
          </p:nvPr>
        </p:nvSpPr>
        <p:spPr>
          <a:xfrm>
            <a:off x="586789" y="243181"/>
            <a:ext cx="6535463" cy="1119501"/>
          </a:xfrm>
        </p:spPr>
        <p:txBody>
          <a:bodyPr/>
          <a:lstStyle/>
          <a:p>
            <a:r>
              <a:rPr lang="en-US" err="1"/>
              <a:t>Tiensuunnittelun</a:t>
            </a:r>
            <a:r>
              <a:rPr lang="en-US"/>
              <a:t> </a:t>
            </a:r>
            <a:r>
              <a:rPr lang="en-US" err="1"/>
              <a:t>vaiheet</a:t>
            </a:r>
            <a:endParaRPr lang="en-US"/>
          </a:p>
        </p:txBody>
      </p:sp>
      <p:sp>
        <p:nvSpPr>
          <p:cNvPr id="20" name="Content Placeholder 2">
            <a:extLst>
              <a:ext uri="{FF2B5EF4-FFF2-40B4-BE49-F238E27FC236}">
                <a16:creationId xmlns:a16="http://schemas.microsoft.com/office/drawing/2014/main" id="{DACFEEB6-67D1-410B-AE9D-6D001B85FACF}"/>
              </a:ext>
            </a:extLst>
          </p:cNvPr>
          <p:cNvSpPr>
            <a:spLocks noGrp="1"/>
          </p:cNvSpPr>
          <p:nvPr>
            <p:ph idx="1"/>
          </p:nvPr>
        </p:nvSpPr>
        <p:spPr>
          <a:xfrm>
            <a:off x="586789" y="1442579"/>
            <a:ext cx="5584602" cy="4802520"/>
          </a:xfrm>
        </p:spPr>
        <p:txBody>
          <a:bodyPr/>
          <a:lstStyle/>
          <a:p>
            <a:r>
              <a:rPr lang="en-US" sz="2000" err="1"/>
              <a:t>Tiehankkeiden</a:t>
            </a:r>
            <a:r>
              <a:rPr lang="en-US" sz="2000"/>
              <a:t> </a:t>
            </a:r>
            <a:r>
              <a:rPr lang="en-US" sz="2000" err="1"/>
              <a:t>suunittelu</a:t>
            </a:r>
            <a:r>
              <a:rPr lang="en-US" sz="2000"/>
              <a:t> on </a:t>
            </a:r>
            <a:r>
              <a:rPr lang="en-US" sz="2000" err="1"/>
              <a:t>vaiheittain</a:t>
            </a:r>
            <a:r>
              <a:rPr lang="en-US" sz="2000"/>
              <a:t> </a:t>
            </a:r>
            <a:r>
              <a:rPr lang="en-US" sz="2000" err="1"/>
              <a:t>tarkentuva</a:t>
            </a:r>
            <a:r>
              <a:rPr lang="en-US" sz="2000"/>
              <a:t> </a:t>
            </a:r>
            <a:r>
              <a:rPr lang="en-US" sz="2000" err="1"/>
              <a:t>prosessi</a:t>
            </a:r>
            <a:r>
              <a:rPr lang="en-US" sz="2000"/>
              <a:t>.</a:t>
            </a:r>
            <a:r>
              <a:rPr lang="fi-FI" sz="2000"/>
              <a:t> </a:t>
            </a:r>
          </a:p>
          <a:p>
            <a:r>
              <a:rPr lang="en-US" sz="2000" err="1"/>
              <a:t>Nyt</a:t>
            </a:r>
            <a:r>
              <a:rPr lang="en-US" sz="2000"/>
              <a:t> </a:t>
            </a:r>
            <a:r>
              <a:rPr lang="en-US" sz="2000" err="1"/>
              <a:t>ollaan</a:t>
            </a:r>
            <a:r>
              <a:rPr lang="en-US" sz="2000"/>
              <a:t> </a:t>
            </a:r>
            <a:r>
              <a:rPr lang="en-US" sz="2000" err="1"/>
              <a:t>esi</a:t>
            </a:r>
            <a:r>
              <a:rPr lang="en-US" sz="2000"/>
              <a:t>/</a:t>
            </a:r>
            <a:r>
              <a:rPr lang="en-US" sz="2000" err="1"/>
              <a:t>alustava</a:t>
            </a:r>
            <a:r>
              <a:rPr lang="en-US" sz="2000"/>
              <a:t> </a:t>
            </a:r>
            <a:r>
              <a:rPr lang="en-US" sz="2000" err="1"/>
              <a:t>yleissuunnitteluvaiheessa</a:t>
            </a:r>
            <a:endParaRPr lang="en-US" sz="2000"/>
          </a:p>
          <a:p>
            <a:pPr lvl="1"/>
            <a:r>
              <a:rPr lang="en-US" sz="2000" err="1"/>
              <a:t>Liikenteelliset</a:t>
            </a:r>
            <a:r>
              <a:rPr lang="en-US" sz="2000"/>
              <a:t> </a:t>
            </a:r>
            <a:r>
              <a:rPr lang="en-US" sz="2000" err="1"/>
              <a:t>periaateratkaisut</a:t>
            </a:r>
            <a:r>
              <a:rPr lang="en-US" sz="2000"/>
              <a:t> </a:t>
            </a:r>
            <a:r>
              <a:rPr lang="en-US" sz="2000" err="1"/>
              <a:t>tehdään</a:t>
            </a:r>
            <a:r>
              <a:rPr lang="en-US" sz="2000"/>
              <a:t> </a:t>
            </a:r>
            <a:r>
              <a:rPr lang="en-US" sz="2000" err="1"/>
              <a:t>nyt</a:t>
            </a:r>
            <a:endParaRPr lang="en-US" sz="2000"/>
          </a:p>
          <a:p>
            <a:r>
              <a:rPr lang="en-US" sz="2000" err="1"/>
              <a:t>Tiesuunnittelu</a:t>
            </a:r>
            <a:r>
              <a:rPr lang="en-US" sz="2000"/>
              <a:t> on </a:t>
            </a:r>
            <a:r>
              <a:rPr lang="en-US" sz="2000" err="1"/>
              <a:t>yksityiskohtaista</a:t>
            </a:r>
            <a:r>
              <a:rPr lang="en-US" sz="2000"/>
              <a:t> </a:t>
            </a:r>
            <a:r>
              <a:rPr lang="en-US" sz="2000" err="1"/>
              <a:t>suunnittelua</a:t>
            </a:r>
            <a:endParaRPr lang="en-US" sz="2000"/>
          </a:p>
          <a:p>
            <a:r>
              <a:rPr lang="en-US" sz="2000" err="1"/>
              <a:t>Rakennussuunnittelussa</a:t>
            </a:r>
            <a:r>
              <a:rPr lang="en-US" sz="2000"/>
              <a:t> </a:t>
            </a:r>
            <a:r>
              <a:rPr lang="en-US" sz="2000" err="1"/>
              <a:t>laaditaan</a:t>
            </a:r>
            <a:r>
              <a:rPr lang="en-US" sz="2000"/>
              <a:t> </a:t>
            </a:r>
            <a:r>
              <a:rPr lang="en-US" sz="2000" err="1"/>
              <a:t>rakentamista</a:t>
            </a:r>
            <a:r>
              <a:rPr lang="en-US" sz="2000"/>
              <a:t> </a:t>
            </a:r>
            <a:r>
              <a:rPr lang="en-US" sz="2000" err="1"/>
              <a:t>varten</a:t>
            </a:r>
            <a:r>
              <a:rPr lang="en-US" sz="2000"/>
              <a:t> </a:t>
            </a:r>
            <a:r>
              <a:rPr lang="en-US" sz="2000" err="1"/>
              <a:t>tarvittavat</a:t>
            </a:r>
            <a:r>
              <a:rPr lang="en-US" sz="2000"/>
              <a:t> </a:t>
            </a:r>
            <a:r>
              <a:rPr lang="en-US" sz="2000" err="1"/>
              <a:t>asiakirjat</a:t>
            </a:r>
            <a:endParaRPr lang="en-US" sz="2000"/>
          </a:p>
        </p:txBody>
      </p:sp>
      <p:pic>
        <p:nvPicPr>
          <p:cNvPr id="10" name="Kuva 9">
            <a:extLst>
              <a:ext uri="{FF2B5EF4-FFF2-40B4-BE49-F238E27FC236}">
                <a16:creationId xmlns:a16="http://schemas.microsoft.com/office/drawing/2014/main" id="{B5472A03-2A97-4574-BE0A-7A487E54390F}"/>
              </a:ext>
            </a:extLst>
          </p:cNvPr>
          <p:cNvPicPr>
            <a:picLocks noChangeAspect="1"/>
          </p:cNvPicPr>
          <p:nvPr/>
        </p:nvPicPr>
        <p:blipFill>
          <a:blip r:embed="rId2"/>
          <a:stretch>
            <a:fillRect/>
          </a:stretch>
        </p:blipFill>
        <p:spPr>
          <a:xfrm>
            <a:off x="6428597" y="950833"/>
            <a:ext cx="5584602" cy="4956334"/>
          </a:xfrm>
          <a:prstGeom prst="rect">
            <a:avLst/>
          </a:prstGeom>
          <a:noFill/>
        </p:spPr>
      </p:pic>
      <p:sp>
        <p:nvSpPr>
          <p:cNvPr id="6" name="Dian numeron paikkamerkki 5">
            <a:extLst>
              <a:ext uri="{FF2B5EF4-FFF2-40B4-BE49-F238E27FC236}">
                <a16:creationId xmlns:a16="http://schemas.microsoft.com/office/drawing/2014/main" id="{CEE46F8D-3BC8-4AA6-991A-AB5BE4D545D6}"/>
              </a:ext>
            </a:extLst>
          </p:cNvPr>
          <p:cNvSpPr>
            <a:spLocks noGrp="1"/>
          </p:cNvSpPr>
          <p:nvPr>
            <p:ph type="sldNum" sz="quarter" idx="4"/>
          </p:nvPr>
        </p:nvSpPr>
        <p:spPr>
          <a:xfrm>
            <a:off x="922350" y="6374625"/>
            <a:ext cx="482704" cy="204601"/>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3D2D5F4-4871-4469-8343-ED7F6811B37D}" type="slidenum">
              <a:rPr kumimoji="0" lang="fi-FI"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26</a:t>
            </a:fld>
            <a:endParaRPr kumimoji="0" lang="fi-FI" sz="900" b="0" i="0" u="none" strike="noStrike" kern="1200" cap="none" spc="0" normalizeH="0" baseline="0" noProof="0">
              <a:ln>
                <a:noFill/>
              </a:ln>
              <a:solidFill>
                <a:prstClr val="black"/>
              </a:solidFill>
              <a:effectLst/>
              <a:uLnTx/>
              <a:uFillTx/>
              <a:latin typeface="Arial"/>
              <a:ea typeface="+mn-ea"/>
              <a:cs typeface="+mn-cs"/>
            </a:endParaRPr>
          </a:p>
        </p:txBody>
      </p:sp>
      <p:sp>
        <p:nvSpPr>
          <p:cNvPr id="7" name="Päivämäärän paikkamerkki 6">
            <a:extLst>
              <a:ext uri="{FF2B5EF4-FFF2-40B4-BE49-F238E27FC236}">
                <a16:creationId xmlns:a16="http://schemas.microsoft.com/office/drawing/2014/main" id="{52893B53-206B-4FA8-B7F3-240F1508CB86}"/>
              </a:ext>
            </a:extLst>
          </p:cNvPr>
          <p:cNvSpPr>
            <a:spLocks noGrp="1"/>
          </p:cNvSpPr>
          <p:nvPr>
            <p:ph type="dt" sz="half" idx="2"/>
          </p:nvPr>
        </p:nvSpPr>
        <p:spPr>
          <a:xfrm>
            <a:off x="1449661" y="6374625"/>
            <a:ext cx="976847" cy="204601"/>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26.4.2022   |   </a:t>
            </a:r>
          </a:p>
        </p:txBody>
      </p:sp>
      <p:sp>
        <p:nvSpPr>
          <p:cNvPr id="8" name="Alatunnisteen paikkamerkki 7">
            <a:extLst>
              <a:ext uri="{FF2B5EF4-FFF2-40B4-BE49-F238E27FC236}">
                <a16:creationId xmlns:a16="http://schemas.microsoft.com/office/drawing/2014/main" id="{83C74C0D-E896-46FA-A3D0-DB30F1DBAB35}"/>
              </a:ext>
            </a:extLst>
          </p:cNvPr>
          <p:cNvSpPr>
            <a:spLocks noGrp="1"/>
          </p:cNvSpPr>
          <p:nvPr>
            <p:ph type="ftr" sz="quarter" idx="3"/>
          </p:nvPr>
        </p:nvSpPr>
        <p:spPr>
          <a:xfrm>
            <a:off x="2495271" y="6374625"/>
            <a:ext cx="4114800" cy="204601"/>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i-FI" sz="900" b="0" i="0" u="none" strike="noStrike" kern="1200" cap="none" spc="0" normalizeH="0" baseline="0" noProof="0">
                <a:ln>
                  <a:noFill/>
                </a:ln>
                <a:solidFill>
                  <a:prstClr val="black"/>
                </a:solidFill>
                <a:effectLst/>
                <a:uLnTx/>
                <a:uFillTx/>
                <a:latin typeface="Arial"/>
                <a:ea typeface="+mn-ea"/>
                <a:cs typeface="+mn-cs"/>
              </a:rPr>
              <a:t>Päivi Hautaniemi</a:t>
            </a:r>
          </a:p>
        </p:txBody>
      </p:sp>
    </p:spTree>
    <p:extLst>
      <p:ext uri="{BB962C8B-B14F-4D97-AF65-F5344CB8AC3E}">
        <p14:creationId xmlns:p14="http://schemas.microsoft.com/office/powerpoint/2010/main" val="1160207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Sisällön paikkamerkki 7" descr="Kuva, joka sisältää kohteen kartta&#10;&#10;Kuvaus luotu automaattisesti">
            <a:extLst>
              <a:ext uri="{FF2B5EF4-FFF2-40B4-BE49-F238E27FC236}">
                <a16:creationId xmlns:a16="http://schemas.microsoft.com/office/drawing/2014/main" id="{21BEBF55-5DAE-42EF-A3DE-D8E0CC845BD6}"/>
              </a:ext>
            </a:extLst>
          </p:cNvPr>
          <p:cNvPicPr>
            <a:picLocks noGrp="1" noChangeAspect="1"/>
          </p:cNvPicPr>
          <p:nvPr>
            <p:ph sz="quarter" idx="18"/>
          </p:nvPr>
        </p:nvPicPr>
        <p:blipFill>
          <a:blip r:embed="rId2"/>
          <a:stretch>
            <a:fillRect/>
          </a:stretch>
        </p:blipFill>
        <p:spPr>
          <a:xfrm>
            <a:off x="6168362" y="70722"/>
            <a:ext cx="5940000" cy="5940000"/>
          </a:xfrm>
          <a:ln>
            <a:solidFill>
              <a:schemeClr val="accent3"/>
            </a:solidFill>
          </a:ln>
        </p:spPr>
      </p:pic>
      <p:sp>
        <p:nvSpPr>
          <p:cNvPr id="3" name="Sisällön paikkamerkki 2">
            <a:extLst>
              <a:ext uri="{FF2B5EF4-FFF2-40B4-BE49-F238E27FC236}">
                <a16:creationId xmlns:a16="http://schemas.microsoft.com/office/drawing/2014/main" id="{EDFC2764-FCDB-478E-AB63-812076004651}"/>
              </a:ext>
            </a:extLst>
          </p:cNvPr>
          <p:cNvSpPr>
            <a:spLocks noGrp="1"/>
          </p:cNvSpPr>
          <p:nvPr>
            <p:ph sz="quarter" idx="19"/>
          </p:nvPr>
        </p:nvSpPr>
        <p:spPr>
          <a:xfrm>
            <a:off x="552926" y="912689"/>
            <a:ext cx="5496421" cy="4839081"/>
          </a:xfrm>
        </p:spPr>
        <p:txBody>
          <a:bodyPr vert="horz" wrap="square" lIns="91440" tIns="45720" rIns="91440" bIns="45720" numCol="1" anchor="t" anchorCtr="0" compatLnSpc="1">
            <a:prstTxWarp prst="textNoShape">
              <a:avLst/>
            </a:prstTxWarp>
            <a:noAutofit/>
          </a:bodyPr>
          <a:lstStyle/>
          <a:p>
            <a:pPr marL="236855" indent="-236855"/>
            <a:r>
              <a:rPr lang="fi-FI" sz="1200">
                <a:latin typeface="Open Sans"/>
                <a:ea typeface="Open Sans"/>
                <a:cs typeface="Open Sans"/>
              </a:rPr>
              <a:t>Liikenneverkko</a:t>
            </a:r>
          </a:p>
          <a:p>
            <a:pPr marL="473710" lvl="1" indent="-234315"/>
            <a:r>
              <a:rPr lang="fi-FI" sz="1200">
                <a:latin typeface="Open Sans"/>
                <a:cs typeface="Open Sans"/>
              </a:rPr>
              <a:t>Valtatie 4 välillä Helsinki - Kemi on osa Euroopan laajuista TEN-T –ydinverkkokäytävää ja pääväyläasetuksen mukainen tason I pääväylä.</a:t>
            </a:r>
          </a:p>
          <a:p>
            <a:pPr marL="473710" lvl="1" indent="-234315"/>
            <a:r>
              <a:rPr lang="fi-FI" sz="1200">
                <a:latin typeface="Open Sans"/>
                <a:cs typeface="Open Sans"/>
              </a:rPr>
              <a:t>Suunnittelualueen valtatie 4 linjaosuus on osa suurten erikoiskuljetusten tavoitetieverkkoa (SEKV) ja tämä asettaa reitille muun muassa mitoitusvaatimuksia (7m x 7m x 40m).</a:t>
            </a:r>
          </a:p>
          <a:p>
            <a:pPr marL="473710" lvl="1" indent="-234315"/>
            <a:r>
              <a:rPr lang="fi-FI" sz="1200">
                <a:latin typeface="Open Sans"/>
                <a:cs typeface="Open Sans"/>
              </a:rPr>
              <a:t>Suunnittelualueen valtatie 4 linjaosuudella on suurimmalta osin 100 km/h tuntinopeusrajoitus. Taajamien ja kylien kohdilla nopeusrajoitus on 60 km/h tai 80 km/h. </a:t>
            </a:r>
            <a:endParaRPr lang="fi-FI" sz="1200"/>
          </a:p>
          <a:p>
            <a:pPr marL="236855" indent="-236855"/>
            <a:r>
              <a:rPr lang="fi-FI" sz="1200">
                <a:latin typeface="Open Sans"/>
                <a:ea typeface="Open Sans"/>
                <a:cs typeface="Open Sans"/>
              </a:rPr>
              <a:t>Liikenneturvallisuus</a:t>
            </a:r>
          </a:p>
          <a:p>
            <a:pPr marL="473710" lvl="1" indent="-234315"/>
            <a:r>
              <a:rPr lang="fi-FI" sz="1200">
                <a:latin typeface="Open Sans"/>
                <a:cs typeface="Open Sans"/>
              </a:rPr>
              <a:t>Poliisin seurannan mukaan viimeisen viiden vuoden aikana suunnittelualueella on ollut kaksi kuolemaan johtanutta onnettomuutta, joissa kuoli kaksi henkilöä.</a:t>
            </a:r>
          </a:p>
          <a:p>
            <a:pPr marL="473710" lvl="1" indent="-234315"/>
            <a:r>
              <a:rPr lang="fi-FI" sz="1200">
                <a:latin typeface="Open Sans"/>
                <a:cs typeface="Open Sans"/>
              </a:rPr>
              <a:t>Tilastoiduista onnettomuuksista 7 on risteämisonnettomuuksia, joissa kuoli 1 henkilö ja loukkaantui yhteensä 3 henkilöä.</a:t>
            </a:r>
          </a:p>
          <a:p>
            <a:pPr marL="236855" indent="-236855"/>
            <a:r>
              <a:rPr lang="fi-FI" sz="1200">
                <a:latin typeface="Open Sans"/>
                <a:ea typeface="Open Sans"/>
                <a:cs typeface="Open Sans"/>
              </a:rPr>
              <a:t>Liikennemäärät</a:t>
            </a:r>
          </a:p>
          <a:p>
            <a:pPr marL="473710" lvl="1" indent="-234315"/>
            <a:r>
              <a:rPr lang="fi-FI" sz="1200">
                <a:latin typeface="Open Sans"/>
                <a:cs typeface="Open Sans"/>
              </a:rPr>
              <a:t>Valtatie 4 keskimääräinen liikennemäärä suunnittelualueen linja-osuudella vaihtelee noin 7000 – 7500 ajoneuvon välillä (KVL 2021).</a:t>
            </a:r>
          </a:p>
          <a:p>
            <a:pPr marL="473710" lvl="1" indent="-234315"/>
            <a:r>
              <a:rPr lang="fi-FI" sz="1200">
                <a:latin typeface="Open Sans"/>
                <a:cs typeface="Open Sans"/>
              </a:rPr>
              <a:t>Raskaan liikenteen osuus liikennemäärästä on paikoitellen varsin korkea (16%).</a:t>
            </a:r>
          </a:p>
          <a:p>
            <a:pPr marL="473710" lvl="1" indent="-234315"/>
            <a:r>
              <a:rPr lang="fi-FI" sz="1200">
                <a:latin typeface="Open Sans"/>
                <a:cs typeface="Open Sans"/>
              </a:rPr>
              <a:t>Väyläviraston laatiman yleisten teiden liikenne-ennusteen perusteella yhteysvälillä liikenne tulee kasvamaan henkilöautoliikenteellä noin 19% ja raskaalla liikenteellä noin 24%.</a:t>
            </a:r>
          </a:p>
        </p:txBody>
      </p:sp>
      <p:sp>
        <p:nvSpPr>
          <p:cNvPr id="4" name="Otsikko 3">
            <a:extLst>
              <a:ext uri="{FF2B5EF4-FFF2-40B4-BE49-F238E27FC236}">
                <a16:creationId xmlns:a16="http://schemas.microsoft.com/office/drawing/2014/main" id="{46D5CD32-65BF-4160-A5BD-26C8C4AFAD63}"/>
              </a:ext>
            </a:extLst>
          </p:cNvPr>
          <p:cNvSpPr>
            <a:spLocks noGrp="1"/>
          </p:cNvSpPr>
          <p:nvPr>
            <p:ph type="title"/>
          </p:nvPr>
        </p:nvSpPr>
        <p:spPr>
          <a:xfrm>
            <a:off x="599580" y="472515"/>
            <a:ext cx="5755120" cy="525705"/>
          </a:xfrm>
        </p:spPr>
        <p:txBody>
          <a:bodyPr/>
          <a:lstStyle/>
          <a:p>
            <a:r>
              <a:rPr lang="fi-FI"/>
              <a:t>Liikenne</a:t>
            </a:r>
          </a:p>
        </p:txBody>
      </p:sp>
      <p:sp>
        <p:nvSpPr>
          <p:cNvPr id="5" name="Päivämäärän paikkamerkki 4">
            <a:extLst>
              <a:ext uri="{FF2B5EF4-FFF2-40B4-BE49-F238E27FC236}">
                <a16:creationId xmlns:a16="http://schemas.microsoft.com/office/drawing/2014/main" id="{167F27A2-69A9-4051-9011-F566A0CB1753}"/>
              </a:ext>
            </a:extLst>
          </p:cNvPr>
          <p:cNvSpPr>
            <a:spLocks noGrp="1"/>
          </p:cNvSpPr>
          <p:nvPr>
            <p:ph type="dt" sz="half" idx="2"/>
          </p:nvPr>
        </p:nvSpPr>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fld id="{7BC23778-3ACC-CE44-8741-C1431DF68739}" type="datetime1">
              <a:rPr kumimoji="0" lang="fi-FI" sz="900" b="0" i="0" u="none" strike="noStrike" kern="1200" cap="none" spc="0" normalizeH="0" baseline="0" noProof="0" smtClean="0">
                <a:ln>
                  <a:noFill/>
                </a:ln>
                <a:solidFill>
                  <a:srgbClr val="505050"/>
                </a:solidFill>
                <a:effectLst/>
                <a:uLnTx/>
                <a:uFillTx/>
                <a:latin typeface="Open Sans" panose="020B0606030504020204" pitchFamily="34" charset="0"/>
                <a:ea typeface="ＭＳ Ｐゴシック" pitchFamily="34" charset="-128"/>
                <a:cs typeface="+mn-cs"/>
              </a:rPr>
              <a:pPr marL="0" marR="0" lvl="0" indent="0" algn="l" defTabSz="609585" rtl="0" eaLnBrk="1" fontAlgn="base" latinLnBrk="0" hangingPunct="1">
                <a:lnSpc>
                  <a:spcPct val="100000"/>
                </a:lnSpc>
                <a:spcBef>
                  <a:spcPct val="0"/>
                </a:spcBef>
                <a:spcAft>
                  <a:spcPct val="0"/>
                </a:spcAft>
                <a:buClrTx/>
                <a:buSzTx/>
                <a:buFontTx/>
                <a:buNone/>
                <a:tabLst/>
                <a:defRPr/>
              </a:pPr>
              <a:t>29.4.2022</a:t>
            </a:fld>
            <a:endParaRPr kumimoji="0" lang="fi-FI" sz="900" b="0" i="0" u="none" strike="noStrike" kern="1200" cap="none" spc="0" normalizeH="0" baseline="0" noProof="0">
              <a:ln>
                <a:noFill/>
              </a:ln>
              <a:solidFill>
                <a:srgbClr val="505050"/>
              </a:solidFill>
              <a:effectLst/>
              <a:uLnTx/>
              <a:uFillTx/>
              <a:latin typeface="Open Sans" panose="020B0606030504020204" pitchFamily="34" charset="0"/>
              <a:ea typeface="ＭＳ Ｐゴシック" pitchFamily="34" charset="-128"/>
              <a:cs typeface="+mn-cs"/>
            </a:endParaRPr>
          </a:p>
        </p:txBody>
      </p:sp>
      <p:sp>
        <p:nvSpPr>
          <p:cNvPr id="6" name="Alatunnisteen paikkamerkki 5">
            <a:extLst>
              <a:ext uri="{FF2B5EF4-FFF2-40B4-BE49-F238E27FC236}">
                <a16:creationId xmlns:a16="http://schemas.microsoft.com/office/drawing/2014/main" id="{A2811624-A25C-4D76-9AF9-71974A3532FC}"/>
              </a:ext>
            </a:extLst>
          </p:cNvPr>
          <p:cNvSpPr>
            <a:spLocks noGrp="1"/>
          </p:cNvSpPr>
          <p:nvPr>
            <p:ph type="ftr" sz="quarter" idx="3"/>
          </p:nvPr>
        </p:nvSpPr>
        <p:spPr/>
        <p:txBody>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900" b="0" i="0" u="none" strike="noStrike" kern="1200" cap="none" spc="0" normalizeH="0" baseline="0" noProof="0">
              <a:ln>
                <a:noFill/>
              </a:ln>
              <a:solidFill>
                <a:srgbClr val="282828"/>
              </a:solidFill>
              <a:effectLst/>
              <a:uLnTx/>
              <a:uFillTx/>
              <a:latin typeface="Open Sans" panose="020B0606030504020204" pitchFamily="34" charset="0"/>
              <a:ea typeface="ＭＳ Ｐゴシック" pitchFamily="34" charset="-128"/>
              <a:cs typeface="+mn-cs"/>
            </a:endParaRPr>
          </a:p>
        </p:txBody>
      </p:sp>
    </p:spTree>
    <p:extLst>
      <p:ext uri="{BB962C8B-B14F-4D97-AF65-F5344CB8AC3E}">
        <p14:creationId xmlns:p14="http://schemas.microsoft.com/office/powerpoint/2010/main" val="1239292556"/>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Kuva 4">
            <a:extLst>
              <a:ext uri="{FF2B5EF4-FFF2-40B4-BE49-F238E27FC236}">
                <a16:creationId xmlns:a16="http://schemas.microsoft.com/office/drawing/2014/main" id="{255B2D87-C27F-4423-A4E5-F08F2DC459C5}"/>
              </a:ext>
            </a:extLst>
          </p:cNvPr>
          <p:cNvPicPr>
            <a:picLocks noChangeAspect="1"/>
          </p:cNvPicPr>
          <p:nvPr/>
        </p:nvPicPr>
        <p:blipFill>
          <a:blip r:embed="rId2"/>
          <a:stretch>
            <a:fillRect/>
          </a:stretch>
        </p:blipFill>
        <p:spPr>
          <a:xfrm>
            <a:off x="6695560" y="957866"/>
            <a:ext cx="4500000" cy="5054734"/>
          </a:xfrm>
          <a:prstGeom prst="rect">
            <a:avLst/>
          </a:prstGeom>
        </p:spPr>
      </p:pic>
      <p:pic>
        <p:nvPicPr>
          <p:cNvPr id="4" name="Kuva 3">
            <a:extLst>
              <a:ext uri="{FF2B5EF4-FFF2-40B4-BE49-F238E27FC236}">
                <a16:creationId xmlns:a16="http://schemas.microsoft.com/office/drawing/2014/main" id="{7179057C-20B0-43BF-BFED-8E7B149D3AFF}"/>
              </a:ext>
            </a:extLst>
          </p:cNvPr>
          <p:cNvPicPr>
            <a:picLocks noChangeAspect="1"/>
          </p:cNvPicPr>
          <p:nvPr/>
        </p:nvPicPr>
        <p:blipFill>
          <a:blip r:embed="rId3"/>
          <a:stretch>
            <a:fillRect/>
          </a:stretch>
        </p:blipFill>
        <p:spPr>
          <a:xfrm>
            <a:off x="996440" y="957866"/>
            <a:ext cx="4500000" cy="5054734"/>
          </a:xfrm>
          <a:prstGeom prst="rect">
            <a:avLst/>
          </a:prstGeom>
        </p:spPr>
      </p:pic>
      <p:sp>
        <p:nvSpPr>
          <p:cNvPr id="2" name="Päivämäärän paikkamerkki 1">
            <a:extLst>
              <a:ext uri="{FF2B5EF4-FFF2-40B4-BE49-F238E27FC236}">
                <a16:creationId xmlns:a16="http://schemas.microsoft.com/office/drawing/2014/main" id="{1EED6259-7903-43BF-9E70-B11D61F683DE}"/>
              </a:ext>
            </a:extLst>
          </p:cNvPr>
          <p:cNvSpPr>
            <a:spLocks noGrp="1"/>
          </p:cNvSpPr>
          <p:nvPr>
            <p:ph type="dt" sz="half" idx="2"/>
          </p:nvPr>
        </p:nvSpPr>
        <p:spPr/>
        <p:txBody>
          <a:bodyPr/>
          <a:lstStyle/>
          <a:p>
            <a:fld id="{3804C455-77E2-9B45-9D19-C70C06C0E88A}" type="datetime1">
              <a:rPr lang="fi-FI" smtClean="0"/>
              <a:t>29.4.2022</a:t>
            </a:fld>
            <a:endParaRPr lang="fi-FI"/>
          </a:p>
        </p:txBody>
      </p:sp>
      <p:sp>
        <p:nvSpPr>
          <p:cNvPr id="3" name="Alatunnisteen paikkamerkki 2">
            <a:extLst>
              <a:ext uri="{FF2B5EF4-FFF2-40B4-BE49-F238E27FC236}">
                <a16:creationId xmlns:a16="http://schemas.microsoft.com/office/drawing/2014/main" id="{1433DD14-BBE3-4D9F-9F56-86B8099F0088}"/>
              </a:ext>
            </a:extLst>
          </p:cNvPr>
          <p:cNvSpPr>
            <a:spLocks noGrp="1"/>
          </p:cNvSpPr>
          <p:nvPr>
            <p:ph type="ftr" sz="quarter" idx="3"/>
          </p:nvPr>
        </p:nvSpPr>
        <p:spPr/>
        <p:txBody>
          <a:bodyPr/>
          <a:lstStyle/>
          <a:p>
            <a:endParaRPr lang="fi-FI"/>
          </a:p>
        </p:txBody>
      </p:sp>
      <p:sp>
        <p:nvSpPr>
          <p:cNvPr id="105" name="Otsikko 3">
            <a:extLst>
              <a:ext uri="{FF2B5EF4-FFF2-40B4-BE49-F238E27FC236}">
                <a16:creationId xmlns:a16="http://schemas.microsoft.com/office/drawing/2014/main" id="{70955D9F-1512-465B-A689-803C431DA778}"/>
              </a:ext>
            </a:extLst>
          </p:cNvPr>
          <p:cNvSpPr txBox="1">
            <a:spLocks/>
          </p:cNvSpPr>
          <p:nvPr/>
        </p:nvSpPr>
        <p:spPr>
          <a:xfrm>
            <a:off x="0" y="0"/>
            <a:ext cx="12192000" cy="923688"/>
          </a:xfrm>
          <a:prstGeom prst="rect">
            <a:avLst/>
          </a:prstGeom>
        </p:spPr>
        <p:txBody>
          <a:bodyPr anchor="ctr"/>
          <a:lstStyle>
            <a:lvl1pPr algn="l" defTabSz="609585" rtl="0" eaLnBrk="1" fontAlgn="base" hangingPunct="1">
              <a:lnSpc>
                <a:spcPct val="80000"/>
              </a:lnSpc>
              <a:spcBef>
                <a:spcPct val="0"/>
              </a:spcBef>
              <a:spcAft>
                <a:spcPct val="0"/>
              </a:spcAft>
              <a:defRPr sz="3200" b="1" i="0" kern="1200">
                <a:solidFill>
                  <a:schemeClr val="accent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2pPr>
            <a:lvl3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3pPr>
            <a:lvl4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4pPr>
            <a:lvl5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5pPr>
            <a:lvl6pPr marL="609585"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6pPr>
            <a:lvl7pPr marL="1219170"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7pPr>
            <a:lvl8pPr marL="1828754"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8pPr>
            <a:lvl9pPr marL="2438339"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9pPr>
          </a:lstStyle>
          <a:p>
            <a:pPr marL="0" marR="0" lvl="0" indent="0" algn="ctr" defTabSz="609585" rtl="0" eaLnBrk="1" fontAlgn="base" latinLnBrk="0" hangingPunct="1">
              <a:lnSpc>
                <a:spcPct val="80000"/>
              </a:lnSpc>
              <a:spcBef>
                <a:spcPct val="0"/>
              </a:spcBef>
              <a:spcAft>
                <a:spcPct val="0"/>
              </a:spcAft>
              <a:buClrTx/>
              <a:buSzTx/>
              <a:buFontTx/>
              <a:buNone/>
              <a:tabLst/>
              <a:defRPr/>
            </a:pPr>
            <a:r>
              <a:rPr lang="fi-FI">
                <a:solidFill>
                  <a:srgbClr val="32912E"/>
                </a:solidFill>
              </a:rPr>
              <a:t>Olhava</a:t>
            </a:r>
            <a:r>
              <a:rPr kumimoji="0" lang="fi-FI" sz="3200" b="1" i="0" u="none" strike="noStrike" kern="1200" cap="none" spc="0" normalizeH="0" baseline="0" noProof="0">
                <a:ln>
                  <a:noFill/>
                </a:ln>
                <a:solidFill>
                  <a:srgbClr val="32912E"/>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 - vaihtoehtoiset liikennejärjestelyt</a:t>
            </a:r>
          </a:p>
        </p:txBody>
      </p:sp>
      <p:sp>
        <p:nvSpPr>
          <p:cNvPr id="120" name="Suorakulmio 119">
            <a:extLst>
              <a:ext uri="{FF2B5EF4-FFF2-40B4-BE49-F238E27FC236}">
                <a16:creationId xmlns:a16="http://schemas.microsoft.com/office/drawing/2014/main" id="{38DD4AAD-A954-44CA-8580-B5E63BB205A7}"/>
              </a:ext>
            </a:extLst>
          </p:cNvPr>
          <p:cNvSpPr/>
          <p:nvPr/>
        </p:nvSpPr>
        <p:spPr>
          <a:xfrm>
            <a:off x="996439" y="968896"/>
            <a:ext cx="4499999" cy="5037354"/>
          </a:xfrm>
          <a:prstGeom prst="rect">
            <a:avLst/>
          </a:prstGeom>
          <a:noFill/>
          <a:ln w="3810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err="1">
              <a:solidFill>
                <a:schemeClr val="bg1"/>
              </a:solidFill>
              <a:ea typeface="Muli" charset="0"/>
              <a:cs typeface="Muli" charset="0"/>
            </a:endParaRPr>
          </a:p>
        </p:txBody>
      </p:sp>
      <p:sp>
        <p:nvSpPr>
          <p:cNvPr id="121" name="Suorakulmio 120">
            <a:extLst>
              <a:ext uri="{FF2B5EF4-FFF2-40B4-BE49-F238E27FC236}">
                <a16:creationId xmlns:a16="http://schemas.microsoft.com/office/drawing/2014/main" id="{339286C7-3EFF-4B7E-8CC1-02B14D7EBDCF}"/>
              </a:ext>
            </a:extLst>
          </p:cNvPr>
          <p:cNvSpPr/>
          <p:nvPr/>
        </p:nvSpPr>
        <p:spPr>
          <a:xfrm>
            <a:off x="6695560" y="975246"/>
            <a:ext cx="4499999" cy="5037354"/>
          </a:xfrm>
          <a:prstGeom prst="rect">
            <a:avLst/>
          </a:prstGeom>
          <a:noFill/>
          <a:ln w="3810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err="1">
              <a:solidFill>
                <a:schemeClr val="bg1"/>
              </a:solidFill>
              <a:ea typeface="Muli" charset="0"/>
              <a:cs typeface="Muli" charset="0"/>
            </a:endParaRPr>
          </a:p>
        </p:txBody>
      </p:sp>
      <p:sp>
        <p:nvSpPr>
          <p:cNvPr id="107" name="Suorakulmio 106">
            <a:extLst>
              <a:ext uri="{FF2B5EF4-FFF2-40B4-BE49-F238E27FC236}">
                <a16:creationId xmlns:a16="http://schemas.microsoft.com/office/drawing/2014/main" id="{EA39AEB4-CCE6-4723-9798-9DF6D5814641}"/>
              </a:ext>
            </a:extLst>
          </p:cNvPr>
          <p:cNvSpPr/>
          <p:nvPr/>
        </p:nvSpPr>
        <p:spPr>
          <a:xfrm>
            <a:off x="11070510" y="5566407"/>
            <a:ext cx="720000" cy="36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600" b="1">
                <a:solidFill>
                  <a:schemeClr val="bg1"/>
                </a:solidFill>
                <a:ea typeface="Muli" charset="0"/>
                <a:cs typeface="Muli" charset="0"/>
              </a:rPr>
              <a:t>VE2</a:t>
            </a:r>
            <a:endParaRPr lang="fi-FI" sz="1200" b="1">
              <a:solidFill>
                <a:schemeClr val="bg1"/>
              </a:solidFill>
              <a:ea typeface="Muli" charset="0"/>
              <a:cs typeface="Muli" charset="0"/>
            </a:endParaRPr>
          </a:p>
        </p:txBody>
      </p:sp>
      <p:sp>
        <p:nvSpPr>
          <p:cNvPr id="106" name="Suorakulmio 105">
            <a:extLst>
              <a:ext uri="{FF2B5EF4-FFF2-40B4-BE49-F238E27FC236}">
                <a16:creationId xmlns:a16="http://schemas.microsoft.com/office/drawing/2014/main" id="{DF2BDBF0-4E78-4DA7-9E38-DC0BAA3DB0A6}"/>
              </a:ext>
            </a:extLst>
          </p:cNvPr>
          <p:cNvSpPr/>
          <p:nvPr/>
        </p:nvSpPr>
        <p:spPr>
          <a:xfrm>
            <a:off x="401490" y="5566407"/>
            <a:ext cx="720000" cy="36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600" b="1">
                <a:solidFill>
                  <a:schemeClr val="bg1"/>
                </a:solidFill>
                <a:ea typeface="Muli" charset="0"/>
                <a:cs typeface="Muli" charset="0"/>
              </a:rPr>
              <a:t>VE1</a:t>
            </a:r>
            <a:endParaRPr lang="fi-FI" sz="1200" b="1">
              <a:solidFill>
                <a:schemeClr val="bg1"/>
              </a:solidFill>
              <a:ea typeface="Muli" charset="0"/>
              <a:cs typeface="Muli" charset="0"/>
            </a:endParaRPr>
          </a:p>
        </p:txBody>
      </p:sp>
    </p:spTree>
    <p:extLst>
      <p:ext uri="{BB962C8B-B14F-4D97-AF65-F5344CB8AC3E}">
        <p14:creationId xmlns:p14="http://schemas.microsoft.com/office/powerpoint/2010/main" val="309742093"/>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äivämäärän paikkamerkki 3">
            <a:extLst>
              <a:ext uri="{FF2B5EF4-FFF2-40B4-BE49-F238E27FC236}">
                <a16:creationId xmlns:a16="http://schemas.microsoft.com/office/drawing/2014/main" id="{3858AEF8-405F-40C8-8BAA-8070F29D54F8}"/>
              </a:ext>
            </a:extLst>
          </p:cNvPr>
          <p:cNvSpPr>
            <a:spLocks noGrp="1"/>
          </p:cNvSpPr>
          <p:nvPr>
            <p:ph type="dt" sz="half" idx="2"/>
          </p:nvPr>
        </p:nvSpPr>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fld id="{649D4A59-9075-664D-AD36-DF840CEB6D03}" type="datetime1">
              <a:rPr kumimoji="0" lang="fi-FI" sz="900" b="0" i="0" u="none" strike="noStrike" kern="1200" cap="none" spc="0" normalizeH="0" baseline="0" noProof="0" smtClean="0">
                <a:ln>
                  <a:noFill/>
                </a:ln>
                <a:solidFill>
                  <a:srgbClr val="505050"/>
                </a:solidFill>
                <a:effectLst/>
                <a:uLnTx/>
                <a:uFillTx/>
                <a:latin typeface="Open Sans" panose="020B0606030504020204" pitchFamily="34" charset="0"/>
                <a:ea typeface="ＭＳ Ｐゴシック" pitchFamily="34" charset="-128"/>
                <a:cs typeface="+mn-cs"/>
              </a:rPr>
              <a:pPr marL="0" marR="0" lvl="0" indent="0" algn="l" defTabSz="609585" rtl="0" eaLnBrk="1" fontAlgn="base" latinLnBrk="0" hangingPunct="1">
                <a:lnSpc>
                  <a:spcPct val="100000"/>
                </a:lnSpc>
                <a:spcBef>
                  <a:spcPct val="0"/>
                </a:spcBef>
                <a:spcAft>
                  <a:spcPct val="0"/>
                </a:spcAft>
                <a:buClrTx/>
                <a:buSzTx/>
                <a:buFontTx/>
                <a:buNone/>
                <a:tabLst/>
                <a:defRPr/>
              </a:pPr>
              <a:t>29.4.2022</a:t>
            </a:fld>
            <a:endParaRPr kumimoji="0" lang="fi-FI" sz="900" b="0" i="0" u="none" strike="noStrike" kern="1200" cap="none" spc="0" normalizeH="0" baseline="0" noProof="0">
              <a:ln>
                <a:noFill/>
              </a:ln>
              <a:solidFill>
                <a:srgbClr val="505050"/>
              </a:solidFill>
              <a:effectLst/>
              <a:uLnTx/>
              <a:uFillTx/>
              <a:latin typeface="Open Sans" panose="020B0606030504020204" pitchFamily="34" charset="0"/>
              <a:ea typeface="ＭＳ Ｐゴシック" pitchFamily="34" charset="-128"/>
              <a:cs typeface="+mn-cs"/>
            </a:endParaRPr>
          </a:p>
        </p:txBody>
      </p:sp>
      <p:sp>
        <p:nvSpPr>
          <p:cNvPr id="5" name="Alatunnisteen paikkamerkki 4">
            <a:extLst>
              <a:ext uri="{FF2B5EF4-FFF2-40B4-BE49-F238E27FC236}">
                <a16:creationId xmlns:a16="http://schemas.microsoft.com/office/drawing/2014/main" id="{9DEAC443-F115-43F1-B538-F15181877D55}"/>
              </a:ext>
            </a:extLst>
          </p:cNvPr>
          <p:cNvSpPr>
            <a:spLocks noGrp="1"/>
          </p:cNvSpPr>
          <p:nvPr>
            <p:ph type="ftr" sz="quarter" idx="3"/>
          </p:nvPr>
        </p:nvSpPr>
        <p:spPr/>
        <p:txBody>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900" b="0" i="0" u="none" strike="noStrike" kern="1200" cap="none" spc="0" normalizeH="0" baseline="0" noProof="0">
              <a:ln>
                <a:noFill/>
              </a:ln>
              <a:solidFill>
                <a:srgbClr val="282828"/>
              </a:solidFill>
              <a:effectLst/>
              <a:uLnTx/>
              <a:uFillTx/>
              <a:latin typeface="Open Sans" panose="020B0606030504020204" pitchFamily="34" charset="0"/>
              <a:ea typeface="ＭＳ Ｐゴシック" pitchFamily="34" charset="-128"/>
              <a:cs typeface="+mn-cs"/>
            </a:endParaRPr>
          </a:p>
        </p:txBody>
      </p:sp>
      <p:graphicFrame>
        <p:nvGraphicFramePr>
          <p:cNvPr id="6" name="Taulukko 6">
            <a:extLst>
              <a:ext uri="{FF2B5EF4-FFF2-40B4-BE49-F238E27FC236}">
                <a16:creationId xmlns:a16="http://schemas.microsoft.com/office/drawing/2014/main" id="{77A30018-7F08-4438-8B69-E9B31B26B445}"/>
              </a:ext>
            </a:extLst>
          </p:cNvPr>
          <p:cNvGraphicFramePr>
            <a:graphicFrameLocks noGrp="1"/>
          </p:cNvGraphicFramePr>
          <p:nvPr/>
        </p:nvGraphicFramePr>
        <p:xfrm>
          <a:off x="114301" y="1184486"/>
          <a:ext cx="12020401" cy="4880149"/>
        </p:xfrm>
        <a:graphic>
          <a:graphicData uri="http://schemas.openxmlformats.org/drawingml/2006/table">
            <a:tbl>
              <a:tblPr firstRow="1" bandRow="1">
                <a:tableStyleId>{5940675A-B579-460E-94D1-54222C63F5DA}</a:tableStyleId>
              </a:tblPr>
              <a:tblGrid>
                <a:gridCol w="1226819">
                  <a:extLst>
                    <a:ext uri="{9D8B030D-6E8A-4147-A177-3AD203B41FA5}">
                      <a16:colId xmlns:a16="http://schemas.microsoft.com/office/drawing/2014/main" val="1535771074"/>
                    </a:ext>
                  </a:extLst>
                </a:gridCol>
                <a:gridCol w="5396791">
                  <a:extLst>
                    <a:ext uri="{9D8B030D-6E8A-4147-A177-3AD203B41FA5}">
                      <a16:colId xmlns:a16="http://schemas.microsoft.com/office/drawing/2014/main" val="2209669313"/>
                    </a:ext>
                  </a:extLst>
                </a:gridCol>
                <a:gridCol w="5396791">
                  <a:extLst>
                    <a:ext uri="{9D8B030D-6E8A-4147-A177-3AD203B41FA5}">
                      <a16:colId xmlns:a16="http://schemas.microsoft.com/office/drawing/2014/main" val="355372965"/>
                    </a:ext>
                  </a:extLst>
                </a:gridCol>
              </a:tblGrid>
              <a:tr h="363110">
                <a:tc>
                  <a:txBody>
                    <a:bodyPr/>
                    <a:lstStyle/>
                    <a:p>
                      <a:pPr algn="ctr"/>
                      <a:r>
                        <a:rPr lang="fi-FI" sz="900" b="1" kern="1200">
                          <a:solidFill>
                            <a:schemeClr val="tx1"/>
                          </a:solidFill>
                          <a:latin typeface="+mn-lt"/>
                          <a:ea typeface="+mn-ea"/>
                          <a:cs typeface="+mn-cs"/>
                        </a:rPr>
                        <a:t>Vaikutusalue</a:t>
                      </a:r>
                    </a:p>
                  </a:txBody>
                  <a:tcPr anchor="ctr"/>
                </a:tc>
                <a:tc>
                  <a:txBody>
                    <a:bodyPr/>
                    <a:lstStyle/>
                    <a:p>
                      <a:pPr algn="ctr"/>
                      <a:r>
                        <a:rPr lang="fi-FI" sz="900" b="1"/>
                        <a:t>Vaihtoehto VE1</a:t>
                      </a:r>
                    </a:p>
                  </a:txBody>
                  <a:tcPr anchor="ctr"/>
                </a:tc>
                <a:tc>
                  <a:txBody>
                    <a:bodyPr/>
                    <a:lstStyle/>
                    <a:p>
                      <a:pPr algn="ctr"/>
                      <a:r>
                        <a:rPr lang="fi-FI" sz="900" b="1"/>
                        <a:t>Vaihtoehto VE2</a:t>
                      </a:r>
                    </a:p>
                  </a:txBody>
                  <a:tcPr anchor="ctr"/>
                </a:tc>
                <a:extLst>
                  <a:ext uri="{0D108BD9-81ED-4DB2-BD59-A6C34878D82A}">
                    <a16:rowId xmlns:a16="http://schemas.microsoft.com/office/drawing/2014/main" val="4174998791"/>
                  </a:ext>
                </a:extLst>
              </a:tr>
              <a:tr h="1179853">
                <a:tc>
                  <a:txBody>
                    <a:bodyPr/>
                    <a:lstStyle/>
                    <a:p>
                      <a:pPr algn="ctr"/>
                      <a:r>
                        <a:rPr lang="fi-FI" sz="900" b="1"/>
                        <a:t>Liikenteelliset </a:t>
                      </a:r>
                    </a:p>
                    <a:p>
                      <a:pPr algn="ctr"/>
                      <a:r>
                        <a:rPr lang="fi-FI" sz="900" b="1"/>
                        <a:t>vaikutukset</a:t>
                      </a:r>
                    </a:p>
                  </a:txBody>
                  <a:tcPr anchor="ct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Parantaa liikenneturvallisuutta &amp; valtatien liikenteen sujuvuutta</a:t>
                      </a:r>
                    </a:p>
                    <a:p>
                      <a:pPr marL="171450" indent="-171450" algn="l">
                        <a:buFont typeface="Arial" panose="020B0604020202020204" pitchFamily="34" charset="0"/>
                        <a:buChar char="•"/>
                      </a:pPr>
                      <a:r>
                        <a:rPr lang="fi-FI" sz="800">
                          <a:solidFill>
                            <a:schemeClr val="accent3"/>
                          </a:solidFill>
                        </a:rPr>
                        <a:t>Valtatielle liittyminen eri tasoss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Uusi rinnakkaisyhteys joen yli, paikallinen liikenne siirtyy rauhallisemmalle uudelle yhteydelle. Rinnakkaisyhteys mahdollistaa vaihtoehtoisen reitin liikenteen häiriötilanteiss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Eteläinen eritasoliittymän kautta turvalliset ja sujuvat yhteydet joen etelä puolelle sekä pohjoisesta että etelästä.</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Olhavanjoen ylittävä jalankulku ja pyöräliikenne joutuu kiertämään mm. bussipysäkeille nykyisen yhteyden siirtyessä uudelle vesistösillalle.</a:t>
                      </a:r>
                    </a:p>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endParaRPr lang="fi-FI" sz="800">
                        <a:solidFill>
                          <a:schemeClr val="accent3"/>
                        </a:solidFill>
                      </a:endParaRPr>
                    </a:p>
                  </a:txBody>
                  <a:tcPr>
                    <a:solidFill>
                      <a:srgbClr val="D2D8C4"/>
                    </a:solidFill>
                  </a:tcP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Parantaa liikenneturvallisuutta &amp; valtatien liikenteen sujuvuutta</a:t>
                      </a:r>
                    </a:p>
                    <a:p>
                      <a:pPr marL="171450" indent="-171450" algn="l">
                        <a:buFont typeface="Arial" panose="020B0604020202020204" pitchFamily="34" charset="0"/>
                        <a:buChar char="•"/>
                      </a:pPr>
                      <a:r>
                        <a:rPr lang="fi-FI" sz="800">
                          <a:solidFill>
                            <a:schemeClr val="accent3"/>
                          </a:solidFill>
                        </a:rPr>
                        <a:t>Valtatielle liittyminen eri tasossa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Uusi rinnakkaisyhteys joen yli, paikallinen liikenne siirtyy rauhallisemmalle uudelle yhteydelle. Rinnakkaisyhteys mahdollistaa vaihtoehtoisen reitin liikenteen häiriötilanteissa.</a:t>
                      </a:r>
                    </a:p>
                    <a:p>
                      <a:pPr marL="171450" indent="-171450" algn="l">
                        <a:buFont typeface="Arial" panose="020B0604020202020204" pitchFamily="34" charset="0"/>
                        <a:buChar char="•"/>
                      </a:pPr>
                      <a:r>
                        <a:rPr lang="fi-FI" sz="800">
                          <a:solidFill>
                            <a:schemeClr val="accent3"/>
                          </a:solidFill>
                        </a:rPr>
                        <a:t>Matka asutukselta (mm. Itaranperä &amp; Törmä) valtatielle pitenee </a:t>
                      </a:r>
                    </a:p>
                    <a:p>
                      <a:pPr marL="171450" indent="-171450" algn="l">
                        <a:buFont typeface="Arial" panose="020B0604020202020204" pitchFamily="34" charset="0"/>
                        <a:buChar char="•"/>
                      </a:pPr>
                      <a:r>
                        <a:rPr lang="fi-FI" sz="800">
                          <a:solidFill>
                            <a:schemeClr val="accent3"/>
                          </a:solidFill>
                        </a:rPr>
                        <a:t>Jalankulun ja pyöräilyn yhteydet hyvät Olhavanjoen molemmin puolin, suora yhteys Olhavanjoen pohjoispuolelta bussipysäkeille</a:t>
                      </a:r>
                    </a:p>
                  </a:txBody>
                  <a:tcPr>
                    <a:solidFill>
                      <a:srgbClr val="72D16E"/>
                    </a:solidFill>
                  </a:tcPr>
                </a:tc>
                <a:extLst>
                  <a:ext uri="{0D108BD9-81ED-4DB2-BD59-A6C34878D82A}">
                    <a16:rowId xmlns:a16="http://schemas.microsoft.com/office/drawing/2014/main" val="599775101"/>
                  </a:ext>
                </a:extLst>
              </a:tr>
              <a:tr h="1117679">
                <a:tc>
                  <a:txBody>
                    <a:bodyPr/>
                    <a:lstStyle/>
                    <a:p>
                      <a:pPr algn="ctr"/>
                      <a:r>
                        <a:rPr lang="fi-FI" sz="900" b="1"/>
                        <a:t>Maankäytölliset </a:t>
                      </a:r>
                    </a:p>
                    <a:p>
                      <a:pPr algn="ctr"/>
                      <a:r>
                        <a:rPr lang="fi-FI" sz="900" b="1"/>
                        <a:t>vaikutukset</a:t>
                      </a:r>
                    </a:p>
                  </a:txBody>
                  <a:tcPr anchor="ctr"/>
                </a:tc>
                <a:tc>
                  <a:txBody>
                    <a:bodyPr/>
                    <a:lstStyle/>
                    <a:p>
                      <a:pPr marL="171450" indent="-171450" algn="l">
                        <a:buFont typeface="Arial" panose="020B0604020202020204" pitchFamily="34" charset="0"/>
                        <a:buChar char="•"/>
                      </a:pPr>
                      <a:r>
                        <a:rPr lang="fi-FI" sz="800">
                          <a:solidFill>
                            <a:schemeClr val="accent3"/>
                          </a:solidFill>
                        </a:rPr>
                        <a:t>Eritasoliittymät ja uudet tieyhteydet sijoittuvat maakuntakaavan aluevarauksella merkittyyn valtakunnallisesti merkittävään kulttuuriympäristöön (Olhavan kylä). Itäisen vesistösillan myötä lisää liikennettä kyläkeskustasta idän suuntaan sijaitsevalle Pohjois-Pohjanmaan rantatien linjaukselle (linjaus pääosin yhteneväinen Sassintien kanssa). </a:t>
                      </a:r>
                    </a:p>
                    <a:p>
                      <a:pPr marL="171450" indent="-171450" algn="l">
                        <a:buFont typeface="Arial" panose="020B0604020202020204" pitchFamily="34" charset="0"/>
                        <a:buChar char="•"/>
                      </a:pPr>
                      <a:r>
                        <a:rPr lang="fi-FI" sz="800">
                          <a:solidFill>
                            <a:schemeClr val="accent3"/>
                          </a:solidFill>
                        </a:rPr>
                        <a:t>Eteläinen eritasoliittymä sijoittuu Pohjois-Pohjanmaan rantatien linjauksen päälle. Myös uudet eteläiset tielinjaukset risteävät rantatien kanssa. </a:t>
                      </a:r>
                    </a:p>
                    <a:p>
                      <a:pPr marL="171450" indent="-171450" algn="l">
                        <a:buFont typeface="Arial" panose="020B0604020202020204" pitchFamily="34" charset="0"/>
                        <a:buChar char="•"/>
                      </a:pPr>
                      <a:r>
                        <a:rPr lang="fi-FI" sz="800" i="0">
                          <a:solidFill>
                            <a:schemeClr val="accent3"/>
                          </a:solidFill>
                        </a:rPr>
                        <a:t>Kyläkeskuksen maakuntakaavan suunnittelumääräyksenä mm. </a:t>
                      </a:r>
                      <a:r>
                        <a:rPr lang="fi-FI" sz="800" i="1">
                          <a:solidFill>
                            <a:schemeClr val="accent3"/>
                          </a:solidFill>
                        </a:rPr>
                        <a:t>Yksityiskohtaisemmassa suunnittelussa tulee kiinnittää erityistä huomiota rakentamisen sopeuttamiseen kyläkokonaisuuteen ja –ympäristöön</a:t>
                      </a:r>
                      <a:r>
                        <a:rPr lang="fi-FI" sz="800" i="0">
                          <a:solidFill>
                            <a:schemeClr val="accent3"/>
                          </a:solidFill>
                        </a:rPr>
                        <a:t>.</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i="0">
                          <a:solidFill>
                            <a:schemeClr val="accent3"/>
                          </a:solidFill>
                        </a:rPr>
                        <a:t>Mahdollistaa liikenneaseman tai muun taukopaikan rakentamisen sekä pohjoiseen että eteläiseen eritasoliittymään</a:t>
                      </a:r>
                    </a:p>
                  </a:txBody>
                  <a:tcPr>
                    <a:solidFill>
                      <a:srgbClr val="E1E2E4"/>
                    </a:solidFill>
                  </a:tcPr>
                </a:tc>
                <a:tc>
                  <a:txBody>
                    <a:bodyPr/>
                    <a:lstStyle/>
                    <a:p>
                      <a:pPr marL="171450" indent="-171450" algn="l">
                        <a:buFont typeface="Arial" panose="020B0604020202020204" pitchFamily="34" charset="0"/>
                        <a:buChar char="•"/>
                      </a:pPr>
                      <a:r>
                        <a:rPr lang="fi-FI" sz="800">
                          <a:solidFill>
                            <a:schemeClr val="accent3"/>
                          </a:solidFill>
                        </a:rPr>
                        <a:t>Eritasoliittymät ja uudet tieyhteydet sijoittuvat valtakunnallisesti merkittävään kulttuuriympäristöön (Olhavan kylä, maakuntakaavan aluevaraus). Pohjois-Pohjanmaan rantatien itäinen linjaus säilyy koskemattoman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Eteläinen eritasoliittymä sijoittuu Pohjois-Pohjanmaan rantatien linjauksen päälle. Myös uudet eteläiset tielinjaukset risteävät rantatien kanss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i="0">
                          <a:solidFill>
                            <a:schemeClr val="accent3"/>
                          </a:solidFill>
                        </a:rPr>
                        <a:t>Kyläkeskuksen maakuntakaavan suunnittelumääräyksenä mm. </a:t>
                      </a:r>
                      <a:r>
                        <a:rPr lang="fi-FI" sz="800" i="1">
                          <a:solidFill>
                            <a:schemeClr val="accent3"/>
                          </a:solidFill>
                        </a:rPr>
                        <a:t>Yksityiskohtaisemmassa suunnittelussa tulee kiinnittää erityistä huomiota rakentamisen sopeuttamiseen kyläkokonaisuuteen ja –ympäristöön</a:t>
                      </a:r>
                      <a:r>
                        <a:rPr lang="fi-FI" sz="800">
                          <a:solidFill>
                            <a:schemeClr val="accent3"/>
                          </a:solidFill>
                        </a:rPr>
                        <a:t>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i="0">
                          <a:solidFill>
                            <a:schemeClr val="accent3"/>
                          </a:solidFill>
                        </a:rPr>
                        <a:t>Mahdollistaa liikenneaseman tai muun taukopaikan rakentamisen pohjoiseen eritasoliittymään</a:t>
                      </a:r>
                    </a:p>
                  </a:txBody>
                  <a:tcPr>
                    <a:solidFill>
                      <a:srgbClr val="E1E2E4"/>
                    </a:solidFill>
                  </a:tcPr>
                </a:tc>
                <a:extLst>
                  <a:ext uri="{0D108BD9-81ED-4DB2-BD59-A6C34878D82A}">
                    <a16:rowId xmlns:a16="http://schemas.microsoft.com/office/drawing/2014/main" val="4264748030"/>
                  </a:ext>
                </a:extLst>
              </a:tr>
              <a:tr h="1117679">
                <a:tc>
                  <a:txBody>
                    <a:bodyPr/>
                    <a:lstStyle/>
                    <a:p>
                      <a:pPr algn="ctr"/>
                      <a:r>
                        <a:rPr lang="fi-FI" sz="900" b="1"/>
                        <a:t>Ympäristölliset </a:t>
                      </a:r>
                    </a:p>
                    <a:p>
                      <a:pPr algn="ctr"/>
                      <a:r>
                        <a:rPr lang="fi-FI" sz="900" b="1"/>
                        <a:t>vaikutukset</a:t>
                      </a:r>
                    </a:p>
                  </a:txBody>
                  <a:tcPr anchor="ctr"/>
                </a:tc>
                <a:tc>
                  <a:txBody>
                    <a:bodyPr/>
                    <a:lstStyle/>
                    <a:p>
                      <a:pPr marL="171450" indent="-171450" algn="l">
                        <a:buFont typeface="Arial" panose="020B0604020202020204" pitchFamily="34" charset="0"/>
                        <a:buChar char="•"/>
                      </a:pPr>
                      <a:r>
                        <a:rPr lang="fi-FI" sz="800" i="0">
                          <a:solidFill>
                            <a:schemeClr val="accent3"/>
                          </a:solidFill>
                        </a:rPr>
                        <a:t>Olhavan kylän pohjoispuolella maakuntakaavan rajaus arvokkaan suokehityssarjan alueesta, jonka suunnittelumääräyksessä: </a:t>
                      </a:r>
                      <a:r>
                        <a:rPr lang="fi-FI" sz="800" i="1">
                          <a:solidFill>
                            <a:schemeClr val="accent3"/>
                          </a:solidFill>
                        </a:rPr>
                        <a:t>alueelle tieyhteyksiä tai muuta käyttöä suunniteltaessa on huolehdittava siitä, ettei ojittamattomien soiden vesitaloudelle aiheudu merkittäviä muutoksia. </a:t>
                      </a:r>
                      <a:r>
                        <a:rPr lang="fi-FI" sz="800" i="0">
                          <a:solidFill>
                            <a:schemeClr val="accent3"/>
                          </a:solidFill>
                        </a:rPr>
                        <a:t>Vaikutuksia suunnitteluun.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Happamien sulfaattimaiden esiintyminen selvitettävä. Vaikutuksia suunnittelu- ja toteutuskustannuksii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Melualue laajenee nykyisestä ennustetun liikennemäärän kasvun ja uusien tieyhteyksien (erityisesti itäinen uusi vesistösilta) seurauksena. Hankkeella ei ole merkittää vaikutusta ajoneuvoliikenteen kokonaismäärään. Meluntorjuntaratkaisuilla meluhaittoja voidaan vähentää asuin- ja vapaa-ajan kiinteistöillä. Tarvittavat meluntorjuntaratkaisut tulee selvittää jatkosuunnittelussa.</a:t>
                      </a:r>
                    </a:p>
                  </a:txBody>
                  <a:tcPr>
                    <a:solidFill>
                      <a:srgbClr val="E1E2E4"/>
                    </a:solidFill>
                  </a:tcP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i="0">
                          <a:solidFill>
                            <a:schemeClr val="accent3"/>
                          </a:solidFill>
                        </a:rPr>
                        <a:t>Olhavan kylän pohjoispuolella maakuntakaavan rajaus arvokkaan suokehityssarjan alueesta, jonka suunnittelumääräyksessä: </a:t>
                      </a:r>
                      <a:r>
                        <a:rPr lang="fi-FI" sz="800" i="1">
                          <a:solidFill>
                            <a:schemeClr val="accent3"/>
                          </a:solidFill>
                        </a:rPr>
                        <a:t>alueelle tieyhteyksiä tai muuta käyttöä suunniteltaessa on huolehdittava siitä, ettei ojittamattomien soiden vesitaloudelle aiheudu merkittäviä muutoksia. </a:t>
                      </a:r>
                      <a:r>
                        <a:rPr lang="fi-FI" sz="800" i="0">
                          <a:solidFill>
                            <a:schemeClr val="accent3"/>
                          </a:solidFill>
                        </a:rPr>
                        <a:t>Vaikutuksia suunnitteluun.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Happamien sulfaattimaiden esiintyminen selvitettävä. Vaikutuksia suunnittelu- ja toteutuskustannuksii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Melualue laajenee nykyisestä ennustetun liikennemäärän kasvun ja uusien tieyhteyksien seurauksena. Hankkeella ei ole merkittää vaikutusta ajoneuvoliikenteen kokonaismäärään. Meluntorjuntaratkaisuilla meluhaittoja voidaan vähentää asuin- ja vapaa-ajan kiinteistöillä. Tarvittavat meluntorjuntaratkaisut tulee selvittää jatkosuunnittelussa.</a:t>
                      </a:r>
                    </a:p>
                  </a:txBody>
                  <a:tcPr>
                    <a:solidFill>
                      <a:srgbClr val="E1E2E4"/>
                    </a:solidFill>
                  </a:tcPr>
                </a:tc>
                <a:extLst>
                  <a:ext uri="{0D108BD9-81ED-4DB2-BD59-A6C34878D82A}">
                    <a16:rowId xmlns:a16="http://schemas.microsoft.com/office/drawing/2014/main" val="2153727017"/>
                  </a:ext>
                </a:extLst>
              </a:tr>
              <a:tr h="900000">
                <a:tc>
                  <a:txBody>
                    <a:bodyPr/>
                    <a:lstStyle/>
                    <a:p>
                      <a:pPr algn="ctr"/>
                      <a:r>
                        <a:rPr lang="fi-FI" sz="900" b="1"/>
                        <a:t>Toteutettavuus</a:t>
                      </a:r>
                    </a:p>
                  </a:txBody>
                  <a:tcPr anchor="ct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kern="1200">
                          <a:solidFill>
                            <a:schemeClr val="accent3"/>
                          </a:solidFill>
                          <a:latin typeface="+mn-lt"/>
                          <a:ea typeface="+mn-ea"/>
                          <a:cs typeface="+mn-cs"/>
                        </a:rPr>
                        <a:t>Liittymäjärjestelyt maaperäkartan perusteella kantavammilla moreenimailla, kalliopinta alueella saattaa olla lähempänä.</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kern="1200">
                          <a:solidFill>
                            <a:schemeClr val="accent3"/>
                          </a:solidFill>
                          <a:latin typeface="+mn-lt"/>
                          <a:ea typeface="+mn-ea"/>
                          <a:cs typeface="+mn-cs"/>
                        </a:rPr>
                        <a:t>Rinnakkaistieyhteydet toteutettaviss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kern="1200">
                          <a:solidFill>
                            <a:schemeClr val="accent3"/>
                          </a:solidFill>
                          <a:latin typeface="+mn-lt"/>
                          <a:ea typeface="+mn-ea"/>
                          <a:cs typeface="+mn-cs"/>
                        </a:rPr>
                        <a:t>Eritasoliittymien kohdilla vähän rakennettua ympäristöä.</a:t>
                      </a:r>
                    </a:p>
                  </a:txBody>
                  <a:tcPr>
                    <a:solidFill>
                      <a:srgbClr val="E1E2E4"/>
                    </a:solidFill>
                  </a:tcP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kern="1200">
                          <a:solidFill>
                            <a:schemeClr val="accent3"/>
                          </a:solidFill>
                          <a:latin typeface="+mn-lt"/>
                          <a:ea typeface="+mn-ea"/>
                          <a:cs typeface="+mn-cs"/>
                        </a:rPr>
                        <a:t>Liittymäjärjestelyt maaperäkartan perusteella kantavammilla moreenimailla, kalliopinta alueella saattaa olla lähempänä.</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kern="1200">
                          <a:solidFill>
                            <a:schemeClr val="accent3"/>
                          </a:solidFill>
                          <a:latin typeface="+mn-lt"/>
                          <a:ea typeface="+mn-ea"/>
                          <a:cs typeface="+mn-cs"/>
                        </a:rPr>
                        <a:t>Rinnakkaistieyhteydet toteutettavissa.</a:t>
                      </a:r>
                    </a:p>
                    <a:p>
                      <a:pPr marL="171450" indent="-171450" algn="l">
                        <a:buFont typeface="Arial" panose="020B0604020202020204" pitchFamily="34" charset="0"/>
                        <a:buChar char="•"/>
                      </a:pPr>
                      <a:r>
                        <a:rPr lang="fi-FI" sz="800">
                          <a:solidFill>
                            <a:schemeClr val="accent3"/>
                          </a:solidFill>
                        </a:rPr>
                        <a:t>Aiheuttaa Kuivajoen vesistösillan kohdalla lunastustarpeita.</a:t>
                      </a:r>
                    </a:p>
                    <a:p>
                      <a:pPr marL="171450" indent="-171450" algn="l">
                        <a:buFont typeface="Arial" panose="020B0604020202020204" pitchFamily="34" charset="0"/>
                        <a:buChar char="•"/>
                      </a:pPr>
                      <a:r>
                        <a:rPr lang="fi-FI" sz="800">
                          <a:solidFill>
                            <a:schemeClr val="accent3"/>
                          </a:solidFill>
                        </a:rPr>
                        <a:t>Kevyenliikenteen yhteys koululta joen pohjoispuolelle säilyy nykytilanteen mukaisena. </a:t>
                      </a:r>
                    </a:p>
                  </a:txBody>
                  <a:tcPr>
                    <a:solidFill>
                      <a:srgbClr val="F2D7C1"/>
                    </a:solidFill>
                  </a:tcPr>
                </a:tc>
                <a:extLst>
                  <a:ext uri="{0D108BD9-81ED-4DB2-BD59-A6C34878D82A}">
                    <a16:rowId xmlns:a16="http://schemas.microsoft.com/office/drawing/2014/main" val="2050728536"/>
                  </a:ext>
                </a:extLst>
              </a:tr>
            </a:tbl>
          </a:graphicData>
        </a:graphic>
      </p:graphicFrame>
      <p:graphicFrame>
        <p:nvGraphicFramePr>
          <p:cNvPr id="7" name="Taulukko 10">
            <a:extLst>
              <a:ext uri="{FF2B5EF4-FFF2-40B4-BE49-F238E27FC236}">
                <a16:creationId xmlns:a16="http://schemas.microsoft.com/office/drawing/2014/main" id="{6EC0E01C-94B1-4E5A-BB8E-D9B96FAE7C8F}"/>
              </a:ext>
            </a:extLst>
          </p:cNvPr>
          <p:cNvGraphicFramePr>
            <a:graphicFrameLocks noGrp="1"/>
          </p:cNvGraphicFramePr>
          <p:nvPr>
            <p:extLst>
              <p:ext uri="{D42A27DB-BD31-4B8C-83A1-F6EECF244321}">
                <p14:modId xmlns:p14="http://schemas.microsoft.com/office/powerpoint/2010/main" val="2567869318"/>
              </p:ext>
            </p:extLst>
          </p:nvPr>
        </p:nvGraphicFramePr>
        <p:xfrm>
          <a:off x="7600189" y="45680"/>
          <a:ext cx="4534511" cy="1066800"/>
        </p:xfrm>
        <a:graphic>
          <a:graphicData uri="http://schemas.openxmlformats.org/drawingml/2006/table">
            <a:tbl>
              <a:tblPr firstRow="1" bandRow="1">
                <a:tableStyleId>{5940675A-B579-460E-94D1-54222C63F5DA}</a:tableStyleId>
              </a:tblPr>
              <a:tblGrid>
                <a:gridCol w="578534">
                  <a:extLst>
                    <a:ext uri="{9D8B030D-6E8A-4147-A177-3AD203B41FA5}">
                      <a16:colId xmlns:a16="http://schemas.microsoft.com/office/drawing/2014/main" val="2606222489"/>
                    </a:ext>
                  </a:extLst>
                </a:gridCol>
                <a:gridCol w="3955977">
                  <a:extLst>
                    <a:ext uri="{9D8B030D-6E8A-4147-A177-3AD203B41FA5}">
                      <a16:colId xmlns:a16="http://schemas.microsoft.com/office/drawing/2014/main" val="2111472638"/>
                    </a:ext>
                  </a:extLst>
                </a:gridCol>
              </a:tblGrid>
              <a:tr h="180000">
                <a:tc>
                  <a:txBody>
                    <a:bodyPr/>
                    <a:lstStyle/>
                    <a:p>
                      <a:pPr algn="ctr"/>
                      <a:r>
                        <a:rPr lang="fi-FI" sz="800" b="1"/>
                        <a:t>++</a:t>
                      </a:r>
                    </a:p>
                  </a:txBody>
                  <a:tcPr anchor="ctr">
                    <a:solidFill>
                      <a:schemeClr val="accent1">
                        <a:lumMod val="60000"/>
                        <a:lumOff val="40000"/>
                      </a:schemeClr>
                    </a:solidFill>
                  </a:tcPr>
                </a:tc>
                <a:tc>
                  <a:txBody>
                    <a:bodyPr/>
                    <a:lstStyle/>
                    <a:p>
                      <a:pPr algn="l"/>
                      <a:r>
                        <a:rPr lang="fi-FI" sz="800"/>
                        <a:t>Paranee merkittävästi nykytilaan verrattuna ja / tai täyttää asetetut tavoitteet</a:t>
                      </a:r>
                    </a:p>
                  </a:txBody>
                  <a:tcPr anchor="ctr"/>
                </a:tc>
                <a:extLst>
                  <a:ext uri="{0D108BD9-81ED-4DB2-BD59-A6C34878D82A}">
                    <a16:rowId xmlns:a16="http://schemas.microsoft.com/office/drawing/2014/main" val="1636898509"/>
                  </a:ext>
                </a:extLst>
              </a:tr>
              <a:tr h="180000">
                <a:tc>
                  <a:txBody>
                    <a:bodyPr/>
                    <a:lstStyle/>
                    <a:p>
                      <a:pPr algn="ctr"/>
                      <a:r>
                        <a:rPr lang="fi-FI" sz="800" b="1"/>
                        <a:t>+</a:t>
                      </a:r>
                    </a:p>
                  </a:txBody>
                  <a:tcPr anchor="ctr">
                    <a:solidFill>
                      <a:srgbClr val="D2D8C4"/>
                    </a:solidFill>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fi-FI" sz="800"/>
                        <a:t>Paranee nykytilaan verrattuna ja / tai täyttää asetetut tavoitteet</a:t>
                      </a:r>
                    </a:p>
                  </a:txBody>
                  <a:tcPr anchor="ctr"/>
                </a:tc>
                <a:extLst>
                  <a:ext uri="{0D108BD9-81ED-4DB2-BD59-A6C34878D82A}">
                    <a16:rowId xmlns:a16="http://schemas.microsoft.com/office/drawing/2014/main" val="168412713"/>
                  </a:ext>
                </a:extLst>
              </a:tr>
              <a:tr h="180000">
                <a:tc>
                  <a:txBody>
                    <a:bodyPr/>
                    <a:lstStyle/>
                    <a:p>
                      <a:pPr algn="ctr"/>
                      <a:r>
                        <a:rPr lang="fi-FI" sz="800" b="1"/>
                        <a:t>0</a:t>
                      </a:r>
                    </a:p>
                  </a:txBody>
                  <a:tcPr anchor="ctr">
                    <a:solidFill>
                      <a:srgbClr val="E1E2E4"/>
                    </a:solidFill>
                  </a:tcPr>
                </a:tc>
                <a:tc>
                  <a:txBody>
                    <a:bodyPr/>
                    <a:lstStyle/>
                    <a:p>
                      <a:pPr algn="l"/>
                      <a:r>
                        <a:rPr lang="fi-FI" sz="800"/>
                        <a:t>Ei muutosta nykytilaan</a:t>
                      </a:r>
                    </a:p>
                  </a:txBody>
                  <a:tcPr anchor="ctr"/>
                </a:tc>
                <a:extLst>
                  <a:ext uri="{0D108BD9-81ED-4DB2-BD59-A6C34878D82A}">
                    <a16:rowId xmlns:a16="http://schemas.microsoft.com/office/drawing/2014/main" val="3395201168"/>
                  </a:ext>
                </a:extLst>
              </a:tr>
              <a:tr h="180000">
                <a:tc>
                  <a:txBody>
                    <a:bodyPr/>
                    <a:lstStyle/>
                    <a:p>
                      <a:pPr algn="ctr"/>
                      <a:r>
                        <a:rPr lang="fi-FI" sz="800" b="1"/>
                        <a:t>-</a:t>
                      </a:r>
                    </a:p>
                  </a:txBody>
                  <a:tcPr anchor="ctr">
                    <a:solidFill>
                      <a:srgbClr val="F2D7C1"/>
                    </a:solidFill>
                  </a:tcPr>
                </a:tc>
                <a:tc>
                  <a:txBody>
                    <a:bodyPr/>
                    <a:lstStyle/>
                    <a:p>
                      <a:pPr algn="l"/>
                      <a:r>
                        <a:rPr lang="fi-FI" sz="800"/>
                        <a:t>Heikkenee nykytilaan verrattuna</a:t>
                      </a:r>
                    </a:p>
                  </a:txBody>
                  <a:tcPr anchor="ctr"/>
                </a:tc>
                <a:extLst>
                  <a:ext uri="{0D108BD9-81ED-4DB2-BD59-A6C34878D82A}">
                    <a16:rowId xmlns:a16="http://schemas.microsoft.com/office/drawing/2014/main" val="1980926028"/>
                  </a:ext>
                </a:extLst>
              </a:tr>
              <a:tr h="180000">
                <a:tc>
                  <a:txBody>
                    <a:bodyPr/>
                    <a:lstStyle/>
                    <a:p>
                      <a:pPr algn="ctr"/>
                      <a:r>
                        <a:rPr lang="fi-FI" sz="800" b="1"/>
                        <a:t>--</a:t>
                      </a:r>
                    </a:p>
                  </a:txBody>
                  <a:tcPr anchor="ctr">
                    <a:solidFill>
                      <a:srgbClr val="FF5D5D"/>
                    </a:solidFill>
                  </a:tcPr>
                </a:tc>
                <a:tc>
                  <a:txBody>
                    <a:bodyPr/>
                    <a:lstStyle/>
                    <a:p>
                      <a:pPr algn="l"/>
                      <a:r>
                        <a:rPr lang="fi-FI" sz="800"/>
                        <a:t>Heikkenee merkittävästi nykytilaan verrattuna tai ei täytä asetettuja tavoitteita</a:t>
                      </a:r>
                    </a:p>
                  </a:txBody>
                  <a:tcPr anchor="ctr"/>
                </a:tc>
                <a:extLst>
                  <a:ext uri="{0D108BD9-81ED-4DB2-BD59-A6C34878D82A}">
                    <a16:rowId xmlns:a16="http://schemas.microsoft.com/office/drawing/2014/main" val="2927848211"/>
                  </a:ext>
                </a:extLst>
              </a:tr>
            </a:tbl>
          </a:graphicData>
        </a:graphic>
      </p:graphicFrame>
      <p:sp>
        <p:nvSpPr>
          <p:cNvPr id="8" name="Otsikko 3">
            <a:extLst>
              <a:ext uri="{FF2B5EF4-FFF2-40B4-BE49-F238E27FC236}">
                <a16:creationId xmlns:a16="http://schemas.microsoft.com/office/drawing/2014/main" id="{06BC4675-54BA-4082-9C45-469219D55410}"/>
              </a:ext>
            </a:extLst>
          </p:cNvPr>
          <p:cNvSpPr txBox="1">
            <a:spLocks/>
          </p:cNvSpPr>
          <p:nvPr/>
        </p:nvSpPr>
        <p:spPr>
          <a:xfrm>
            <a:off x="600900" y="472515"/>
            <a:ext cx="5492808" cy="569863"/>
          </a:xfrm>
          <a:prstGeom prst="rect">
            <a:avLst/>
          </a:prstGeom>
        </p:spPr>
        <p:txBody>
          <a:bodyPr/>
          <a:lstStyle>
            <a:lvl1pPr algn="l" defTabSz="609585" rtl="0" eaLnBrk="1" fontAlgn="base" hangingPunct="1">
              <a:lnSpc>
                <a:spcPct val="80000"/>
              </a:lnSpc>
              <a:spcBef>
                <a:spcPct val="0"/>
              </a:spcBef>
              <a:spcAft>
                <a:spcPct val="0"/>
              </a:spcAft>
              <a:defRPr sz="3200" b="1" i="0" kern="1200">
                <a:solidFill>
                  <a:schemeClr val="accent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2pPr>
            <a:lvl3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3pPr>
            <a:lvl4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4pPr>
            <a:lvl5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5pPr>
            <a:lvl6pPr marL="609585"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6pPr>
            <a:lvl7pPr marL="1219170"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7pPr>
            <a:lvl8pPr marL="1828754"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8pPr>
            <a:lvl9pPr marL="2438339"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9pPr>
          </a:lstStyle>
          <a:p>
            <a:pPr marL="0" marR="0" lvl="0" indent="0" algn="l" defTabSz="609585" rtl="0" eaLnBrk="1" fontAlgn="base" latinLnBrk="0" hangingPunct="1">
              <a:lnSpc>
                <a:spcPct val="80000"/>
              </a:lnSpc>
              <a:spcBef>
                <a:spcPct val="0"/>
              </a:spcBef>
              <a:spcAft>
                <a:spcPct val="0"/>
              </a:spcAft>
              <a:buClrTx/>
              <a:buSzTx/>
              <a:buFontTx/>
              <a:buNone/>
              <a:tabLst/>
              <a:defRPr/>
            </a:pPr>
            <a:r>
              <a:rPr kumimoji="0" lang="fi-FI" sz="3200" b="1" i="0" u="none" strike="noStrike" kern="1200" cap="none" spc="0" normalizeH="0" baseline="0" noProof="0">
                <a:ln>
                  <a:noFill/>
                </a:ln>
                <a:solidFill>
                  <a:srgbClr val="32912E"/>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Vaikutusten arviointia</a:t>
            </a:r>
          </a:p>
        </p:txBody>
      </p:sp>
      <p:sp>
        <p:nvSpPr>
          <p:cNvPr id="9" name="Tekstiruutu 8">
            <a:extLst>
              <a:ext uri="{FF2B5EF4-FFF2-40B4-BE49-F238E27FC236}">
                <a16:creationId xmlns:a16="http://schemas.microsoft.com/office/drawing/2014/main" id="{01C3D34E-D6AC-4EDA-B553-287A16C1EE05}"/>
              </a:ext>
            </a:extLst>
          </p:cNvPr>
          <p:cNvSpPr txBox="1"/>
          <p:nvPr/>
        </p:nvSpPr>
        <p:spPr>
          <a:xfrm>
            <a:off x="600900" y="877599"/>
            <a:ext cx="2372400" cy="248081"/>
          </a:xfrm>
          <a:prstGeom prst="rect">
            <a:avLst/>
          </a:prstGeom>
          <a:noFill/>
        </p:spPr>
        <p:txBody>
          <a:bodyPr wrap="square" rtlCol="0">
            <a:spAutoFit/>
          </a:bodyPr>
          <a:lstStyle/>
          <a:p>
            <a:pPr marL="0" marR="0" lvl="0" indent="0" algn="ctr" defTabSz="609585" rtl="0" eaLnBrk="1" fontAlgn="base" latinLnBrk="0" hangingPunct="1">
              <a:lnSpc>
                <a:spcPct val="92000"/>
              </a:lnSpc>
              <a:spcBef>
                <a:spcPct val="0"/>
              </a:spcBef>
              <a:spcAft>
                <a:spcPct val="0"/>
              </a:spcAft>
              <a:buClr>
                <a:srgbClr val="835738"/>
              </a:buClr>
              <a:buSzTx/>
              <a:buFontTx/>
              <a:buNone/>
              <a:tabLst/>
              <a:defRPr/>
            </a:pPr>
            <a:r>
              <a:rPr kumimoji="0" lang="fi-FI" sz="1100" b="1" i="0" u="none" strike="noStrike" kern="1200" cap="none" spc="0" normalizeH="0" baseline="0" noProof="0">
                <a:ln>
                  <a:noFill/>
                </a:ln>
                <a:solidFill>
                  <a:srgbClr val="32912E"/>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vertaillaan</a:t>
            </a:r>
            <a:r>
              <a:rPr kumimoji="0" lang="fi-FI" sz="1100" b="1" i="0" u="none" strike="noStrike" kern="1200" cap="none" spc="0" normalizeH="0" baseline="0" noProof="0">
                <a:ln>
                  <a:noFill/>
                </a:ln>
                <a:solidFill>
                  <a:srgbClr val="505050"/>
                </a:solidFill>
                <a:effectLst/>
                <a:uLnTx/>
                <a:uFillTx/>
                <a:latin typeface="Open sans"/>
                <a:ea typeface="ＭＳ Ｐゴシック" pitchFamily="34" charset="-128"/>
                <a:cs typeface="Calibri Light"/>
              </a:rPr>
              <a:t> </a:t>
            </a:r>
            <a:r>
              <a:rPr kumimoji="0" lang="fi-FI" sz="1100" b="1" i="0" u="none" strike="noStrike" kern="1200" cap="none" spc="0" normalizeH="0" baseline="0" noProof="0">
                <a:ln>
                  <a:noFill/>
                </a:ln>
                <a:solidFill>
                  <a:srgbClr val="32912E"/>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nykytilanteeseen</a:t>
            </a:r>
          </a:p>
        </p:txBody>
      </p:sp>
    </p:spTree>
    <p:extLst>
      <p:ext uri="{BB962C8B-B14F-4D97-AF65-F5344CB8AC3E}">
        <p14:creationId xmlns:p14="http://schemas.microsoft.com/office/powerpoint/2010/main" val="473415795"/>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3E944A7-CF37-C2E6-085D-4E0F3CF14CF3}"/>
              </a:ext>
            </a:extLst>
          </p:cNvPr>
          <p:cNvSpPr>
            <a:spLocks noGrp="1"/>
          </p:cNvSpPr>
          <p:nvPr>
            <p:ph type="title"/>
          </p:nvPr>
        </p:nvSpPr>
        <p:spPr/>
        <p:txBody>
          <a:bodyPr/>
          <a:lstStyle/>
          <a:p>
            <a:r>
              <a:rPr lang="fi-FI"/>
              <a:t>Ohjelma</a:t>
            </a:r>
          </a:p>
        </p:txBody>
      </p:sp>
      <p:sp>
        <p:nvSpPr>
          <p:cNvPr id="3" name="Sisällön paikkamerkki 2">
            <a:extLst>
              <a:ext uri="{FF2B5EF4-FFF2-40B4-BE49-F238E27FC236}">
                <a16:creationId xmlns:a16="http://schemas.microsoft.com/office/drawing/2014/main" id="{0904B6F1-8236-E734-7D34-81E5AA2268A8}"/>
              </a:ext>
            </a:extLst>
          </p:cNvPr>
          <p:cNvSpPr>
            <a:spLocks noGrp="1"/>
          </p:cNvSpPr>
          <p:nvPr>
            <p:ph idx="1"/>
          </p:nvPr>
        </p:nvSpPr>
        <p:spPr>
          <a:xfrm>
            <a:off x="803275" y="2009760"/>
            <a:ext cx="11124701" cy="4307418"/>
          </a:xfrm>
        </p:spPr>
        <p:txBody>
          <a:bodyPr vert="horz" lIns="0" tIns="0" rIns="0" bIns="0" rtlCol="0" anchor="t">
            <a:normAutofit fontScale="92500" lnSpcReduction="20000"/>
          </a:bodyPr>
          <a:lstStyle/>
          <a:p>
            <a:pPr marL="0" indent="0">
              <a:lnSpc>
                <a:spcPct val="70000"/>
              </a:lnSpc>
              <a:buNone/>
            </a:pPr>
            <a:r>
              <a:rPr lang="fi-FI"/>
              <a:t>Klo 17.00–17.10	Tilaisuuden avaus (</a:t>
            </a:r>
            <a:r>
              <a:rPr lang="fi-FI" i="1"/>
              <a:t>tekninen johtaja</a:t>
            </a:r>
            <a:r>
              <a:rPr lang="fi-FI"/>
              <a:t>)</a:t>
            </a:r>
          </a:p>
          <a:p>
            <a:pPr marL="0" indent="0">
              <a:lnSpc>
                <a:spcPct val="70000"/>
              </a:lnSpc>
              <a:buNone/>
            </a:pPr>
            <a:r>
              <a:rPr lang="fi-FI"/>
              <a:t>		- Esittäytyminen</a:t>
            </a:r>
          </a:p>
          <a:p>
            <a:pPr marL="0" indent="0">
              <a:lnSpc>
                <a:spcPct val="70000"/>
              </a:lnSpc>
              <a:buNone/>
            </a:pPr>
            <a:endParaRPr lang="fi-FI"/>
          </a:p>
          <a:p>
            <a:pPr marL="0" indent="0">
              <a:lnSpc>
                <a:spcPct val="70000"/>
              </a:lnSpc>
              <a:buNone/>
            </a:pPr>
            <a:r>
              <a:rPr lang="fi-FI"/>
              <a:t>Klo 17.10–17.15	Kaavan tavoitteet (</a:t>
            </a:r>
            <a:r>
              <a:rPr lang="fi-FI" i="1"/>
              <a:t>kaavoittaja</a:t>
            </a:r>
            <a:r>
              <a:rPr lang="fi-FI"/>
              <a:t>)</a:t>
            </a:r>
          </a:p>
          <a:p>
            <a:pPr marL="0" indent="0">
              <a:lnSpc>
                <a:spcPct val="70000"/>
              </a:lnSpc>
              <a:buNone/>
            </a:pPr>
            <a:endParaRPr lang="fi-FI"/>
          </a:p>
          <a:p>
            <a:pPr marL="0" indent="0">
              <a:lnSpc>
                <a:spcPct val="70000"/>
              </a:lnSpc>
              <a:buNone/>
            </a:pPr>
            <a:r>
              <a:rPr lang="fi-FI"/>
              <a:t>Klo 17.15–17.30	Kaavan lähtötiedot, kaavaprosessi ja -järjestelmä, strategisen kaavan yleismääräykset (</a:t>
            </a:r>
            <a:r>
              <a:rPr lang="fi-FI" i="1" err="1"/>
              <a:t>Sweco</a:t>
            </a:r>
            <a:r>
              <a:rPr lang="fi-FI"/>
              <a:t>)</a:t>
            </a:r>
          </a:p>
          <a:p>
            <a:pPr marL="0" indent="0">
              <a:lnSpc>
                <a:spcPct val="70000"/>
              </a:lnSpc>
              <a:buNone/>
            </a:pPr>
            <a:endParaRPr lang="fi-FI"/>
          </a:p>
          <a:p>
            <a:pPr marL="0" indent="0">
              <a:lnSpc>
                <a:spcPct val="70000"/>
              </a:lnSpc>
              <a:buNone/>
            </a:pPr>
            <a:r>
              <a:rPr lang="fi-FI"/>
              <a:t>Klo 17.30–17.45	Teemat: Yhdyskuntarakenne ja asutus, elinkeinot ja energia (</a:t>
            </a:r>
            <a:r>
              <a:rPr lang="fi-FI" i="1" err="1"/>
              <a:t>Sweco</a:t>
            </a:r>
            <a:r>
              <a:rPr lang="fi-FI"/>
              <a:t>)</a:t>
            </a:r>
          </a:p>
          <a:p>
            <a:pPr marL="0" indent="0">
              <a:lnSpc>
                <a:spcPct val="70000"/>
              </a:lnSpc>
              <a:buNone/>
            </a:pPr>
            <a:endParaRPr lang="fi-FI"/>
          </a:p>
          <a:p>
            <a:pPr marL="0" indent="0">
              <a:lnSpc>
                <a:spcPct val="70000"/>
              </a:lnSpc>
              <a:buNone/>
            </a:pPr>
            <a:r>
              <a:rPr lang="fi-FI"/>
              <a:t>Klo 17.45–18.00	Kysymyksiä</a:t>
            </a:r>
          </a:p>
          <a:p>
            <a:pPr marL="0" indent="0">
              <a:lnSpc>
                <a:spcPct val="70000"/>
              </a:lnSpc>
              <a:buNone/>
            </a:pPr>
            <a:endParaRPr lang="fi-FI"/>
          </a:p>
          <a:p>
            <a:pPr marL="0" indent="0">
              <a:lnSpc>
                <a:spcPct val="70000"/>
              </a:lnSpc>
              <a:buNone/>
            </a:pPr>
            <a:r>
              <a:rPr lang="fi-FI"/>
              <a:t>Klo 18.00–18.10	Teemat: Luonnonsuojelu ja maisema, matkailu ja virkistys (</a:t>
            </a:r>
            <a:r>
              <a:rPr lang="fi-FI" i="1" err="1"/>
              <a:t>Sweco</a:t>
            </a:r>
            <a:r>
              <a:rPr lang="fi-FI"/>
              <a:t>)</a:t>
            </a:r>
          </a:p>
          <a:p>
            <a:pPr marL="0" indent="0">
              <a:lnSpc>
                <a:spcPct val="70000"/>
              </a:lnSpc>
              <a:buNone/>
            </a:pPr>
            <a:endParaRPr lang="fi-FI"/>
          </a:p>
          <a:p>
            <a:pPr marL="0" indent="0">
              <a:lnSpc>
                <a:spcPct val="70000"/>
              </a:lnSpc>
              <a:buNone/>
            </a:pPr>
            <a:r>
              <a:rPr lang="fi-FI"/>
              <a:t>Klo 18.10–18.20	Kysymyksiä</a:t>
            </a:r>
          </a:p>
          <a:p>
            <a:pPr marL="0" indent="0">
              <a:lnSpc>
                <a:spcPct val="70000"/>
              </a:lnSpc>
              <a:buNone/>
            </a:pPr>
            <a:endParaRPr lang="fi-FI"/>
          </a:p>
          <a:p>
            <a:pPr marL="0" indent="0">
              <a:lnSpc>
                <a:spcPct val="70000"/>
              </a:lnSpc>
              <a:buNone/>
            </a:pPr>
            <a:r>
              <a:rPr lang="fi-FI"/>
              <a:t>Klo 18.20–18.40	Teema: Liikenne (</a:t>
            </a:r>
            <a:r>
              <a:rPr lang="fi-FI" i="1" err="1"/>
              <a:t>Sweco</a:t>
            </a:r>
            <a:r>
              <a:rPr lang="fi-FI" i="1"/>
              <a:t>, ELY-keskus, Destia</a:t>
            </a:r>
            <a:r>
              <a:rPr lang="fi-FI"/>
              <a:t>)</a:t>
            </a:r>
          </a:p>
          <a:p>
            <a:pPr marL="0" indent="0">
              <a:lnSpc>
                <a:spcPct val="70000"/>
              </a:lnSpc>
              <a:buNone/>
            </a:pPr>
            <a:endParaRPr lang="fi-FI"/>
          </a:p>
          <a:p>
            <a:pPr marL="0" indent="0">
              <a:lnSpc>
                <a:spcPct val="70000"/>
              </a:lnSpc>
              <a:buNone/>
            </a:pPr>
            <a:r>
              <a:rPr lang="fi-FI"/>
              <a:t>Klo 18.40–18.55	Kysymyksiä</a:t>
            </a:r>
          </a:p>
          <a:p>
            <a:pPr marL="0" indent="0">
              <a:lnSpc>
                <a:spcPct val="70000"/>
              </a:lnSpc>
              <a:buNone/>
            </a:pPr>
            <a:endParaRPr lang="fi-FI"/>
          </a:p>
          <a:p>
            <a:pPr marL="0" indent="0">
              <a:lnSpc>
                <a:spcPct val="70000"/>
              </a:lnSpc>
              <a:buNone/>
            </a:pPr>
            <a:r>
              <a:rPr lang="fi-FI"/>
              <a:t>Klo 18.55–19.00	Tilaisuuden päättäminen</a:t>
            </a:r>
          </a:p>
        </p:txBody>
      </p:sp>
      <p:pic>
        <p:nvPicPr>
          <p:cNvPr id="7" name="Kuva 6">
            <a:extLst>
              <a:ext uri="{FF2B5EF4-FFF2-40B4-BE49-F238E27FC236}">
                <a16:creationId xmlns:a16="http://schemas.microsoft.com/office/drawing/2014/main" id="{D95499A6-A0BB-41C8-A77C-C56E19136D48}"/>
              </a:ext>
            </a:extLst>
          </p:cNvPr>
          <p:cNvPicPr>
            <a:picLocks noChangeAspect="1"/>
          </p:cNvPicPr>
          <p:nvPr/>
        </p:nvPicPr>
        <p:blipFill>
          <a:blip r:embed="rId2"/>
          <a:stretch>
            <a:fillRect/>
          </a:stretch>
        </p:blipFill>
        <p:spPr>
          <a:xfrm>
            <a:off x="466974" y="221687"/>
            <a:ext cx="1604422" cy="412865"/>
          </a:xfrm>
          <a:prstGeom prst="rect">
            <a:avLst/>
          </a:prstGeom>
        </p:spPr>
      </p:pic>
    </p:spTree>
    <p:extLst>
      <p:ext uri="{BB962C8B-B14F-4D97-AF65-F5344CB8AC3E}">
        <p14:creationId xmlns:p14="http://schemas.microsoft.com/office/powerpoint/2010/main" val="22865578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F1EB1129-BDD6-4270-92CA-1A194EB265CE}"/>
              </a:ext>
            </a:extLst>
          </p:cNvPr>
          <p:cNvSpPr>
            <a:spLocks noGrp="1"/>
          </p:cNvSpPr>
          <p:nvPr>
            <p:ph type="dt" sz="half" idx="2"/>
          </p:nvPr>
        </p:nvSpPr>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fld id="{3804C455-77E2-9B45-9D19-C70C06C0E88A}" type="datetime1">
              <a:rPr kumimoji="0" lang="fi-FI" sz="900" b="0" i="0" u="none" strike="noStrike" kern="1200" cap="none" spc="0" normalizeH="0" baseline="0" noProof="0" smtClean="0">
                <a:ln>
                  <a:noFill/>
                </a:ln>
                <a:solidFill>
                  <a:srgbClr val="505050"/>
                </a:solidFill>
                <a:effectLst/>
                <a:uLnTx/>
                <a:uFillTx/>
                <a:latin typeface="Open Sans" panose="020B0606030504020204" pitchFamily="34" charset="0"/>
                <a:ea typeface="ＭＳ Ｐゴシック" pitchFamily="34" charset="-128"/>
                <a:cs typeface="+mn-cs"/>
              </a:rPr>
              <a:pPr marL="0" marR="0" lvl="0" indent="0" algn="l" defTabSz="609585" rtl="0" eaLnBrk="1" fontAlgn="base" latinLnBrk="0" hangingPunct="1">
                <a:lnSpc>
                  <a:spcPct val="100000"/>
                </a:lnSpc>
                <a:spcBef>
                  <a:spcPct val="0"/>
                </a:spcBef>
                <a:spcAft>
                  <a:spcPct val="0"/>
                </a:spcAft>
                <a:buClrTx/>
                <a:buSzTx/>
                <a:buFontTx/>
                <a:buNone/>
                <a:tabLst/>
                <a:defRPr/>
              </a:pPr>
              <a:t>29.4.2022</a:t>
            </a:fld>
            <a:endParaRPr kumimoji="0" lang="fi-FI" sz="900" b="0" i="0" u="none" strike="noStrike" kern="1200" cap="none" spc="0" normalizeH="0" baseline="0" noProof="0">
              <a:ln>
                <a:noFill/>
              </a:ln>
              <a:solidFill>
                <a:srgbClr val="505050"/>
              </a:solidFill>
              <a:effectLst/>
              <a:uLnTx/>
              <a:uFillTx/>
              <a:latin typeface="Open Sans" panose="020B0606030504020204" pitchFamily="34" charset="0"/>
              <a:ea typeface="ＭＳ Ｐゴシック" pitchFamily="34" charset="-128"/>
              <a:cs typeface="+mn-cs"/>
            </a:endParaRPr>
          </a:p>
        </p:txBody>
      </p:sp>
      <p:sp>
        <p:nvSpPr>
          <p:cNvPr id="3" name="Alatunnisteen paikkamerkki 2">
            <a:extLst>
              <a:ext uri="{FF2B5EF4-FFF2-40B4-BE49-F238E27FC236}">
                <a16:creationId xmlns:a16="http://schemas.microsoft.com/office/drawing/2014/main" id="{01A4D3AE-375D-4588-98B9-DB5A295C739B}"/>
              </a:ext>
            </a:extLst>
          </p:cNvPr>
          <p:cNvSpPr>
            <a:spLocks noGrp="1"/>
          </p:cNvSpPr>
          <p:nvPr>
            <p:ph type="ftr" sz="quarter" idx="3"/>
          </p:nvPr>
        </p:nvSpPr>
        <p:spPr/>
        <p:txBody>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900" b="0" i="0" u="none" strike="noStrike" kern="1200" cap="none" spc="0" normalizeH="0" baseline="0" noProof="0">
              <a:ln>
                <a:noFill/>
              </a:ln>
              <a:solidFill>
                <a:srgbClr val="282828"/>
              </a:solidFill>
              <a:effectLst/>
              <a:uLnTx/>
              <a:uFillTx/>
              <a:latin typeface="Open Sans" panose="020B0606030504020204" pitchFamily="34" charset="0"/>
              <a:ea typeface="ＭＳ Ｐゴシック" pitchFamily="34" charset="-128"/>
              <a:cs typeface="+mn-cs"/>
            </a:endParaRPr>
          </a:p>
        </p:txBody>
      </p:sp>
      <p:pic>
        <p:nvPicPr>
          <p:cNvPr id="5" name="Kuva 4" descr="Kuva, joka sisältää kohteen teksti&#10;&#10;Kuvaus luotu automaattisesti">
            <a:extLst>
              <a:ext uri="{FF2B5EF4-FFF2-40B4-BE49-F238E27FC236}">
                <a16:creationId xmlns:a16="http://schemas.microsoft.com/office/drawing/2014/main" id="{E8D4F9E1-0212-418A-9D6C-6094FE2A6B40}"/>
              </a:ext>
            </a:extLst>
          </p:cNvPr>
          <p:cNvPicPr>
            <a:picLocks noChangeAspect="1"/>
          </p:cNvPicPr>
          <p:nvPr/>
        </p:nvPicPr>
        <p:blipFill rotWithShape="1">
          <a:blip r:embed="rId2">
            <a:duotone>
              <a:schemeClr val="accent3">
                <a:shade val="45000"/>
                <a:satMod val="135000"/>
              </a:schemeClr>
              <a:prstClr val="white"/>
            </a:duotone>
          </a:blip>
          <a:srcRect l="26648" t="-5" r="23282" b="5"/>
          <a:stretch/>
        </p:blipFill>
        <p:spPr>
          <a:xfrm>
            <a:off x="6096000" y="0"/>
            <a:ext cx="6104466" cy="6857657"/>
          </a:xfrm>
          <a:prstGeom prst="rect">
            <a:avLst/>
          </a:prstGeom>
        </p:spPr>
      </p:pic>
      <p:sp>
        <p:nvSpPr>
          <p:cNvPr id="34" name="Vapaamuotoinen: Muoto 33">
            <a:extLst>
              <a:ext uri="{FF2B5EF4-FFF2-40B4-BE49-F238E27FC236}">
                <a16:creationId xmlns:a16="http://schemas.microsoft.com/office/drawing/2014/main" id="{00859E5E-79EE-477F-BE6B-73110CA301C0}"/>
              </a:ext>
            </a:extLst>
          </p:cNvPr>
          <p:cNvSpPr/>
          <p:nvPr/>
        </p:nvSpPr>
        <p:spPr>
          <a:xfrm>
            <a:off x="8937321" y="2517732"/>
            <a:ext cx="1584542" cy="1835270"/>
          </a:xfrm>
          <a:custGeom>
            <a:avLst/>
            <a:gdLst>
              <a:gd name="connsiteX0" fmla="*/ 0 w 1584542"/>
              <a:gd name="connsiteY0" fmla="*/ 0 h 1835270"/>
              <a:gd name="connsiteX1" fmla="*/ 463463 w 1584542"/>
              <a:gd name="connsiteY1" fmla="*/ 739035 h 1835270"/>
              <a:gd name="connsiteX2" fmla="*/ 651353 w 1584542"/>
              <a:gd name="connsiteY2" fmla="*/ 1271391 h 1835270"/>
              <a:gd name="connsiteX3" fmla="*/ 751561 w 1584542"/>
              <a:gd name="connsiteY3" fmla="*/ 1440493 h 1835270"/>
              <a:gd name="connsiteX4" fmla="*/ 914400 w 1584542"/>
              <a:gd name="connsiteY4" fmla="*/ 1753643 h 1835270"/>
              <a:gd name="connsiteX5" fmla="*/ 1133605 w 1584542"/>
              <a:gd name="connsiteY5" fmla="*/ 1835063 h 1835270"/>
              <a:gd name="connsiteX6" fmla="*/ 1584542 w 1584542"/>
              <a:gd name="connsiteY6" fmla="*/ 1772432 h 1835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4542" h="1835270">
                <a:moveTo>
                  <a:pt x="0" y="0"/>
                </a:moveTo>
                <a:cubicBezTo>
                  <a:pt x="177452" y="263568"/>
                  <a:pt x="354904" y="527137"/>
                  <a:pt x="463463" y="739035"/>
                </a:cubicBezTo>
                <a:cubicBezTo>
                  <a:pt x="572022" y="950933"/>
                  <a:pt x="603337" y="1154481"/>
                  <a:pt x="651353" y="1271391"/>
                </a:cubicBezTo>
                <a:cubicBezTo>
                  <a:pt x="699369" y="1388301"/>
                  <a:pt x="707720" y="1360118"/>
                  <a:pt x="751561" y="1440493"/>
                </a:cubicBezTo>
                <a:cubicBezTo>
                  <a:pt x="795402" y="1520868"/>
                  <a:pt x="850726" y="1687881"/>
                  <a:pt x="914400" y="1753643"/>
                </a:cubicBezTo>
                <a:cubicBezTo>
                  <a:pt x="978074" y="1819405"/>
                  <a:pt x="1021915" y="1831932"/>
                  <a:pt x="1133605" y="1835063"/>
                </a:cubicBezTo>
                <a:cubicBezTo>
                  <a:pt x="1245295" y="1838194"/>
                  <a:pt x="1414918" y="1805313"/>
                  <a:pt x="1584542" y="1772432"/>
                </a:cubicBezTo>
              </a:path>
            </a:pathLst>
          </a:cu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6" name="Vapaamuotoinen: Muoto 15">
            <a:extLst>
              <a:ext uri="{FF2B5EF4-FFF2-40B4-BE49-F238E27FC236}">
                <a16:creationId xmlns:a16="http://schemas.microsoft.com/office/drawing/2014/main" id="{5B09C426-57D3-4111-9D9C-CDDAFFED3E5B}"/>
              </a:ext>
            </a:extLst>
          </p:cNvPr>
          <p:cNvSpPr/>
          <p:nvPr/>
        </p:nvSpPr>
        <p:spPr>
          <a:xfrm>
            <a:off x="8376503" y="2464045"/>
            <a:ext cx="652364" cy="493614"/>
          </a:xfrm>
          <a:custGeom>
            <a:avLst/>
            <a:gdLst>
              <a:gd name="connsiteX0" fmla="*/ 0 w 566442"/>
              <a:gd name="connsiteY0" fmla="*/ 493614 h 493614"/>
              <a:gd name="connsiteX1" fmla="*/ 242761 w 566442"/>
              <a:gd name="connsiteY1" fmla="*/ 202301 h 493614"/>
              <a:gd name="connsiteX2" fmla="*/ 493614 w 566442"/>
              <a:gd name="connsiteY2" fmla="*/ 72828 h 493614"/>
              <a:gd name="connsiteX3" fmla="*/ 566442 w 566442"/>
              <a:gd name="connsiteY3" fmla="*/ 0 h 493614"/>
            </a:gdLst>
            <a:ahLst/>
            <a:cxnLst>
              <a:cxn ang="0">
                <a:pos x="connsiteX0" y="connsiteY0"/>
              </a:cxn>
              <a:cxn ang="0">
                <a:pos x="connsiteX1" y="connsiteY1"/>
              </a:cxn>
              <a:cxn ang="0">
                <a:pos x="connsiteX2" y="connsiteY2"/>
              </a:cxn>
              <a:cxn ang="0">
                <a:pos x="connsiteX3" y="connsiteY3"/>
              </a:cxn>
            </a:cxnLst>
            <a:rect l="l" t="t" r="r" b="b"/>
            <a:pathLst>
              <a:path w="566442" h="493614">
                <a:moveTo>
                  <a:pt x="0" y="493614"/>
                </a:moveTo>
                <a:cubicBezTo>
                  <a:pt x="80246" y="383023"/>
                  <a:pt x="160492" y="272432"/>
                  <a:pt x="242761" y="202301"/>
                </a:cubicBezTo>
                <a:cubicBezTo>
                  <a:pt x="325030" y="132170"/>
                  <a:pt x="439667" y="106545"/>
                  <a:pt x="493614" y="72828"/>
                </a:cubicBezTo>
                <a:cubicBezTo>
                  <a:pt x="547561" y="39111"/>
                  <a:pt x="500357" y="60690"/>
                  <a:pt x="566442" y="0"/>
                </a:cubicBezTo>
              </a:path>
            </a:pathLst>
          </a:custGeom>
          <a:ln w="63500">
            <a:prstDash val="sysDot"/>
            <a:headEnd type="triangle"/>
            <a:tailEnd type="triangle"/>
          </a:ln>
        </p:spPr>
        <p:style>
          <a:lnRef idx="1">
            <a:schemeClr val="accent6"/>
          </a:lnRef>
          <a:fillRef idx="0">
            <a:schemeClr val="accent6"/>
          </a:fillRef>
          <a:effectRef idx="0">
            <a:schemeClr val="accent6"/>
          </a:effectRef>
          <a:fontRef idx="minor">
            <a:schemeClr val="tx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a:ln>
                <a:noFill/>
              </a:ln>
              <a:solidFill>
                <a:srgbClr val="505050"/>
              </a:solidFill>
              <a:effectLst/>
              <a:uLnTx/>
              <a:uFillTx/>
              <a:latin typeface="Open sans"/>
              <a:ea typeface="+mn-ea"/>
              <a:cs typeface="+mn-cs"/>
            </a:endParaRPr>
          </a:p>
        </p:txBody>
      </p:sp>
      <p:sp>
        <p:nvSpPr>
          <p:cNvPr id="6" name="Sisällön paikkamerkki 5">
            <a:extLst>
              <a:ext uri="{FF2B5EF4-FFF2-40B4-BE49-F238E27FC236}">
                <a16:creationId xmlns:a16="http://schemas.microsoft.com/office/drawing/2014/main" id="{920EFF6B-9ABA-4E74-AC1D-F1CB7408B5F8}"/>
              </a:ext>
            </a:extLst>
          </p:cNvPr>
          <p:cNvSpPr txBox="1">
            <a:spLocks/>
          </p:cNvSpPr>
          <p:nvPr/>
        </p:nvSpPr>
        <p:spPr>
          <a:xfrm>
            <a:off x="560701" y="1091070"/>
            <a:ext cx="5373709" cy="5302190"/>
          </a:xfrm>
          <a:prstGeom prst="rect">
            <a:avLst/>
          </a:prstGeom>
        </p:spPr>
        <p:txBody>
          <a:bodyPr lIns="91440" tIns="45720" rIns="91440" bIns="45720" anchor="t"/>
          <a:lstStyle>
            <a:lvl1pPr marL="237061" indent="-237061" algn="l" defTabSz="609585" rtl="0" eaLnBrk="1" fontAlgn="base" hangingPunct="1">
              <a:lnSpc>
                <a:spcPct val="100000"/>
              </a:lnSpc>
              <a:spcBef>
                <a:spcPts val="267"/>
              </a:spcBef>
              <a:spcAft>
                <a:spcPts val="267"/>
              </a:spcAft>
              <a:buClr>
                <a:schemeClr val="accent1"/>
              </a:buClr>
              <a:buSzPct val="120000"/>
              <a:buFont typeface="Wingdings" pitchFamily="2" charset="2"/>
              <a:buChar char="§"/>
              <a:defRPr sz="1867" b="1" i="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1pPr>
            <a:lvl2pPr marL="474121" indent="-234945" algn="l" defTabSz="609585" rtl="0" eaLnBrk="1" fontAlgn="base" hangingPunct="1">
              <a:lnSpc>
                <a:spcPct val="100000"/>
              </a:lnSpc>
              <a:spcBef>
                <a:spcPts val="267"/>
              </a:spcBef>
              <a:spcAft>
                <a:spcPts val="267"/>
              </a:spcAft>
              <a:buClr>
                <a:schemeClr val="accent1"/>
              </a:buClr>
              <a:buSzPct val="120000"/>
              <a:buFont typeface="Wingdings" pitchFamily="2" charset="2"/>
              <a:buChar char="§"/>
              <a:tabLst/>
              <a:defRPr sz="1600" b="0" i="0" kern="1200">
                <a:solidFill>
                  <a:schemeClr val="accent3"/>
                </a:solidFill>
                <a:latin typeface="Open Sans" panose="020B0606030504020204" pitchFamily="34" charset="0"/>
                <a:ea typeface="ヒラギノ角ゴ Pro W3" charset="0"/>
                <a:cs typeface="Open Sans" panose="020B0606030504020204" pitchFamily="34" charset="0"/>
              </a:defRPr>
            </a:lvl2pPr>
            <a:lvl3pPr marL="711182" indent="-237061" algn="l" defTabSz="609585" rtl="0" eaLnBrk="1" fontAlgn="base" hangingPunct="1">
              <a:lnSpc>
                <a:spcPct val="100000"/>
              </a:lnSpc>
              <a:spcBef>
                <a:spcPts val="267"/>
              </a:spcBef>
              <a:spcAft>
                <a:spcPts val="267"/>
              </a:spcAft>
              <a:buClr>
                <a:schemeClr val="accent1"/>
              </a:buClr>
              <a:buSzPct val="120000"/>
              <a:buFont typeface="Wingdings" pitchFamily="2" charset="2"/>
              <a:buChar char="§"/>
              <a:tabLst/>
              <a:defRPr sz="1467" b="0" i="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3pPr>
            <a:lvl4pPr marL="829713" indent="-228594" algn="l" defTabSz="609585" rtl="0" eaLnBrk="1" fontAlgn="base" hangingPunct="1">
              <a:lnSpc>
                <a:spcPct val="100000"/>
              </a:lnSpc>
              <a:spcBef>
                <a:spcPts val="267"/>
              </a:spcBef>
              <a:spcAft>
                <a:spcPts val="267"/>
              </a:spcAft>
              <a:buClr>
                <a:schemeClr val="accent1"/>
              </a:buClr>
              <a:buSzPct val="120000"/>
              <a:buFont typeface="Wingdings" pitchFamily="2" charset="2"/>
              <a:buChar char="§"/>
              <a:tabLst/>
              <a:defRPr sz="1333" b="0" i="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4pPr>
            <a:lvl5pPr marL="1007508" indent="-287859" algn="l" defTabSz="956709" rtl="0" eaLnBrk="1" fontAlgn="base" hangingPunct="1">
              <a:lnSpc>
                <a:spcPct val="100000"/>
              </a:lnSpc>
              <a:spcBef>
                <a:spcPts val="267"/>
              </a:spcBef>
              <a:spcAft>
                <a:spcPts val="267"/>
              </a:spcAft>
              <a:buClr>
                <a:schemeClr val="accent1"/>
              </a:buClr>
              <a:buSzPct val="120000"/>
              <a:buFont typeface="Wingdings" pitchFamily="2" charset="2"/>
              <a:buChar char="§"/>
              <a:tabLst/>
              <a:defRPr sz="1200" b="0" i="0" kern="1200">
                <a:solidFill>
                  <a:schemeClr val="accent3"/>
                </a:solidFill>
                <a:latin typeface="Open Sans" panose="020B0606030504020204" pitchFamily="34" charset="0"/>
                <a:ea typeface="Open Sans" panose="020B0606030504020204" pitchFamily="34" charset="0"/>
                <a:cs typeface="Open Sans" panose="020B0606030504020204" pitchFamily="34" charset="0"/>
              </a:defRPr>
            </a:lvl5pPr>
            <a:lvl6pPr marL="3047924" indent="0" algn="l" defTabSz="609585" rtl="0" eaLnBrk="1" latinLnBrk="0" hangingPunct="1">
              <a:spcBef>
                <a:spcPct val="20000"/>
              </a:spcBef>
              <a:buFont typeface="Arial"/>
              <a:buNone/>
              <a:defRPr sz="2000" b="0" i="0" kern="1200">
                <a:solidFill>
                  <a:schemeClr val="tx1"/>
                </a:solidFill>
                <a:latin typeface="FS Emeric Light"/>
                <a:ea typeface="+mn-ea"/>
                <a:cs typeface="FS Emeric Light"/>
              </a:defRPr>
            </a:lvl6pPr>
            <a:lvl7pPr marL="3962301" indent="-304792" algn="l" defTabSz="609585" rtl="0" eaLnBrk="1" latinLnBrk="0" hangingPunct="1">
              <a:spcBef>
                <a:spcPct val="20000"/>
              </a:spcBef>
              <a:buFont typeface="Arial"/>
              <a:buChar char="•"/>
              <a:defRPr sz="2000" b="0" i="0" kern="1200">
                <a:solidFill>
                  <a:schemeClr val="tx1"/>
                </a:solidFill>
                <a:latin typeface="FS Emeric Light"/>
                <a:ea typeface="+mn-ea"/>
                <a:cs typeface="FS Emeric Light"/>
              </a:defRPr>
            </a:lvl7pPr>
            <a:lvl8pPr marL="4571886" indent="-304792" algn="l" defTabSz="609585" rtl="0" eaLnBrk="1" latinLnBrk="0" hangingPunct="1">
              <a:spcBef>
                <a:spcPct val="20000"/>
              </a:spcBef>
              <a:buFont typeface="Arial"/>
              <a:buChar char="•"/>
              <a:defRPr sz="2000" b="0" i="0" kern="1200">
                <a:solidFill>
                  <a:schemeClr val="tx1"/>
                </a:solidFill>
                <a:latin typeface="FS Emeric Light"/>
                <a:ea typeface="+mn-ea"/>
                <a:cs typeface="FS Emeric Light"/>
              </a:defRPr>
            </a:lvl8pPr>
            <a:lvl9pPr marL="5181470" indent="-304792" algn="l" defTabSz="609585" rtl="0" eaLnBrk="1" latinLnBrk="0" hangingPunct="1">
              <a:spcBef>
                <a:spcPct val="20000"/>
              </a:spcBef>
              <a:buFont typeface="Arial"/>
              <a:buChar char="•"/>
              <a:defRPr sz="2667" b="0" i="0" kern="1200">
                <a:solidFill>
                  <a:schemeClr val="tx1"/>
                </a:solidFill>
                <a:latin typeface="FS Emeric Light"/>
                <a:ea typeface="+mn-ea"/>
                <a:cs typeface="FS Emeric Light"/>
              </a:defRPr>
            </a:lvl9pPr>
          </a:lstStyle>
          <a:p>
            <a:pPr marL="0" marR="0" lvl="0" indent="0" algn="just" defTabSz="609585" rtl="0" eaLnBrk="1" fontAlgn="base" latinLnBrk="0" hangingPunct="1">
              <a:lnSpc>
                <a:spcPct val="100000"/>
              </a:lnSpc>
              <a:spcBef>
                <a:spcPts val="267"/>
              </a:spcBef>
              <a:spcAft>
                <a:spcPts val="267"/>
              </a:spcAft>
              <a:buClr>
                <a:srgbClr val="32912E"/>
              </a:buClr>
              <a:buSzPct val="120000"/>
              <a:buFont typeface="Wingdings" pitchFamily="2" charset="2"/>
              <a:buNone/>
              <a:tabLst/>
              <a:defRPr/>
            </a:pPr>
            <a:r>
              <a:rPr kumimoji="0" lang="fi-FI" sz="1200" b="1" i="1" u="sng" strike="noStrike" kern="1200" cap="none" spc="0" normalizeH="0" baseline="0" noProof="0">
                <a:ln>
                  <a:noFill/>
                </a:ln>
                <a:solidFill>
                  <a:srgbClr val="282828"/>
                </a:solidFill>
                <a:effectLst/>
                <a:uLnTx/>
                <a:uFillTx/>
                <a:latin typeface="Open Sans"/>
                <a:ea typeface="Open Sans"/>
                <a:cs typeface="Open Sans"/>
              </a:rPr>
              <a:t>Ajoneuvoliikenne</a:t>
            </a:r>
            <a:endParaRPr lang="fi-FI" sz="1200" b="1" strike="noStrike" kern="1200" cap="none" spc="0" normalizeH="0" baseline="0" noProof="0">
              <a:ln>
                <a:noFill/>
              </a:ln>
              <a:solidFill>
                <a:srgbClr val="282828"/>
              </a:solidFill>
              <a:effectLst/>
              <a:uLnTx/>
              <a:uFillTx/>
            </a:endParaRPr>
          </a:p>
          <a:p>
            <a:pPr marL="0" indent="0" algn="just">
              <a:buClr>
                <a:srgbClr val="32912E"/>
              </a:buClr>
              <a:buNone/>
              <a:defRPr/>
            </a:pPr>
            <a:r>
              <a:rPr kumimoji="0" lang="fi-FI" sz="1200" b="0" i="0" u="none" strike="noStrike" kern="1200" cap="none" spc="0" normalizeH="0" baseline="0" noProof="0">
                <a:ln>
                  <a:noFill/>
                </a:ln>
                <a:solidFill>
                  <a:srgbClr val="282828"/>
                </a:solidFill>
                <a:effectLst/>
                <a:uLnTx/>
                <a:uFillTx/>
                <a:latin typeface="Open Sans"/>
                <a:ea typeface="Open Sans"/>
                <a:cs typeface="Open Sans"/>
              </a:rPr>
              <a:t>Myllykankaan kohdalla valtatien 4 linjausta muutetaan hieman idän suuntaan ja samalla suoristetaan.</a:t>
            </a:r>
            <a:r>
              <a:rPr lang="fi-FI" sz="1200" b="0">
                <a:solidFill>
                  <a:srgbClr val="282828"/>
                </a:solidFill>
                <a:latin typeface="Open Sans"/>
                <a:ea typeface="Open Sans"/>
                <a:cs typeface="Open Sans"/>
              </a:rPr>
              <a:t> </a:t>
            </a:r>
            <a:r>
              <a:rPr kumimoji="0" lang="fi-FI" sz="1200" b="0" i="0" u="none" strike="noStrike" kern="1200" cap="none" spc="0" normalizeH="0" baseline="0" noProof="0">
                <a:ln>
                  <a:noFill/>
                </a:ln>
                <a:solidFill>
                  <a:srgbClr val="282828"/>
                </a:solidFill>
                <a:effectLst/>
                <a:uLnTx/>
                <a:uFillTx/>
                <a:latin typeface="Open Sans"/>
                <a:ea typeface="Open Sans"/>
                <a:cs typeface="Open Sans"/>
              </a:rPr>
              <a:t> Nykyistä tielinjausta hyödynnetään eritasoliittymän ramppeina. Muutoksen avulla saadaan mahdollistettua tarvittava eritasoliittymä myös Merihelmen alueelle, jotka parantavat liittymäturvallisuutta valtatiellä ja sen läheisyydessä. Valtatieyhteys toteutetaan keskikaiteellisena.</a:t>
            </a:r>
            <a:r>
              <a:rPr lang="fi-FI" sz="1200" b="0">
                <a:solidFill>
                  <a:srgbClr val="282828"/>
                </a:solidFill>
                <a:latin typeface="Open Sans"/>
                <a:ea typeface="Open Sans"/>
                <a:cs typeface="Open Sans"/>
              </a:rPr>
              <a:t> </a:t>
            </a:r>
            <a:endParaRPr lang="fi-FI" sz="1200" b="0" i="0" u="none" strike="noStrike" kern="1200" cap="none" spc="0" normalizeH="0" baseline="0" noProof="0">
              <a:ln>
                <a:noFill/>
              </a:ln>
              <a:solidFill>
                <a:srgbClr val="282828"/>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just" defTabSz="609585" rtl="0" eaLnBrk="1" fontAlgn="base" latinLnBrk="0" hangingPunct="1">
              <a:lnSpc>
                <a:spcPct val="100000"/>
              </a:lnSpc>
              <a:spcBef>
                <a:spcPts val="267"/>
              </a:spcBef>
              <a:spcAft>
                <a:spcPts val="267"/>
              </a:spcAft>
              <a:buClr>
                <a:srgbClr val="32912E"/>
              </a:buClr>
              <a:buSzPct val="120000"/>
              <a:buFont typeface="Wingdings" pitchFamily="2" charset="2"/>
              <a:buNone/>
              <a:tabLst/>
              <a:defRPr/>
            </a:pPr>
            <a:r>
              <a:rPr kumimoji="0" lang="fi-FI" sz="1200" b="1" i="1" u="sng" strike="noStrike" kern="1200" cap="none" spc="0" normalizeH="0" baseline="0" noProof="0">
                <a:ln>
                  <a:noFill/>
                </a:ln>
                <a:solidFill>
                  <a:srgbClr val="282828"/>
                </a:solidFill>
                <a:effectLst/>
                <a:uLnTx/>
                <a:uFillTx/>
                <a:latin typeface="Open Sans"/>
                <a:ea typeface="Open Sans"/>
                <a:cs typeface="Open Sans"/>
              </a:rPr>
              <a:t>Joukkoliikenne</a:t>
            </a:r>
            <a:endParaRPr lang="fi-FI" sz="1200" b="1" i="1" u="sng" strike="noStrike" kern="1200" cap="none" spc="0" normalizeH="0" baseline="0" noProof="0">
              <a:ln>
                <a:noFill/>
              </a:ln>
              <a:solidFill>
                <a:srgbClr val="282828"/>
              </a:solidFill>
              <a:effectLst/>
              <a:uLnTx/>
              <a:uFillTx/>
              <a:latin typeface="Open Sans"/>
              <a:ea typeface="Open Sans"/>
              <a:cs typeface="Open Sans"/>
            </a:endParaRPr>
          </a:p>
          <a:p>
            <a:pPr marL="0" marR="0" lvl="0" indent="0" algn="just" defTabSz="609585" rtl="0" eaLnBrk="1" fontAlgn="base" latinLnBrk="0" hangingPunct="1">
              <a:lnSpc>
                <a:spcPct val="100000"/>
              </a:lnSpc>
              <a:spcBef>
                <a:spcPts val="267"/>
              </a:spcBef>
              <a:spcAft>
                <a:spcPts val="267"/>
              </a:spcAft>
              <a:buClr>
                <a:srgbClr val="32912E"/>
              </a:buClr>
              <a:buSzPct val="120000"/>
              <a:buFont typeface="Wingdings" pitchFamily="2" charset="2"/>
              <a:buNone/>
              <a:tabLst/>
              <a:defRPr/>
            </a:pPr>
            <a:r>
              <a:rPr kumimoji="0" lang="fi-FI" sz="1200" b="0" i="0" u="none" strike="noStrike" kern="1200" cap="none" spc="0" normalizeH="0" baseline="0" noProof="0">
                <a:ln>
                  <a:noFill/>
                </a:ln>
                <a:solidFill>
                  <a:srgbClr val="282828"/>
                </a:solidFill>
                <a:effectLst/>
                <a:uLnTx/>
                <a:uFillTx/>
                <a:latin typeface="Open Sans"/>
                <a:ea typeface="Open Sans"/>
                <a:cs typeface="Open Sans"/>
              </a:rPr>
              <a:t>Joukkoliikenteen pysäkit sijoittuvat rampille, mikäli niille nähdään käyttötarvetta.</a:t>
            </a:r>
            <a:endParaRPr lang="fi-FI" sz="1200" b="0" i="0" u="none" strike="noStrike" kern="1200" cap="none" spc="0" normalizeH="0" baseline="0" noProof="0">
              <a:ln>
                <a:noFill/>
              </a:ln>
              <a:solidFill>
                <a:srgbClr val="282828"/>
              </a:solidFill>
              <a:effectLst/>
              <a:uLnTx/>
              <a:uFillTx/>
              <a:latin typeface="Open Sans"/>
              <a:ea typeface="Open Sans"/>
              <a:cs typeface="Open Sans"/>
            </a:endParaRPr>
          </a:p>
          <a:p>
            <a:pPr marL="0" marR="0" lvl="0" indent="0" algn="just" defTabSz="609585" rtl="0" eaLnBrk="1" fontAlgn="base" latinLnBrk="0" hangingPunct="1">
              <a:lnSpc>
                <a:spcPct val="100000"/>
              </a:lnSpc>
              <a:spcBef>
                <a:spcPts val="267"/>
              </a:spcBef>
              <a:spcAft>
                <a:spcPts val="267"/>
              </a:spcAft>
              <a:buClr>
                <a:srgbClr val="32912E"/>
              </a:buClr>
              <a:buSzPct val="120000"/>
              <a:buFont typeface="Wingdings" pitchFamily="2" charset="2"/>
              <a:buNone/>
              <a:tabLst/>
              <a:defRPr/>
            </a:pPr>
            <a:r>
              <a:rPr kumimoji="0" lang="fi-FI" sz="1200" b="1" i="1" u="sng" strike="noStrike" kern="1200" cap="none" spc="0" normalizeH="0" baseline="0" noProof="0">
                <a:ln>
                  <a:noFill/>
                </a:ln>
                <a:solidFill>
                  <a:srgbClr val="282828"/>
                </a:solidFill>
                <a:effectLst/>
                <a:uLnTx/>
                <a:uFillTx/>
                <a:latin typeface="Open Sans"/>
                <a:ea typeface="Open Sans"/>
                <a:cs typeface="Open Sans"/>
              </a:rPr>
              <a:t>Jalankulku ja pyöräily</a:t>
            </a:r>
            <a:endParaRPr lang="fi-FI" sz="1200" b="1" i="1" u="sng" strike="noStrike" kern="1200" cap="none" spc="0" normalizeH="0" baseline="0" noProof="0">
              <a:ln>
                <a:noFill/>
              </a:ln>
              <a:solidFill>
                <a:srgbClr val="282828"/>
              </a:solidFill>
              <a:effectLst/>
              <a:uLnTx/>
              <a:uFillTx/>
              <a:latin typeface="Open Sans"/>
              <a:ea typeface="Open Sans"/>
              <a:cs typeface="Open Sans"/>
            </a:endParaRPr>
          </a:p>
          <a:p>
            <a:pPr marL="0" marR="0" lvl="0" indent="0" algn="just" defTabSz="609585" rtl="0" eaLnBrk="1" fontAlgn="base" latinLnBrk="0" hangingPunct="1">
              <a:lnSpc>
                <a:spcPct val="100000"/>
              </a:lnSpc>
              <a:spcBef>
                <a:spcPts val="267"/>
              </a:spcBef>
              <a:spcAft>
                <a:spcPts val="267"/>
              </a:spcAft>
              <a:buClr>
                <a:srgbClr val="32912E"/>
              </a:buClr>
              <a:buSzPct val="120000"/>
              <a:buFont typeface="Wingdings" pitchFamily="2" charset="2"/>
              <a:buNone/>
              <a:tabLst/>
              <a:defRPr/>
            </a:pPr>
            <a:r>
              <a:rPr kumimoji="0" lang="fi-FI" sz="1200" b="0" i="0" u="none" strike="noStrike" kern="1200" cap="none" spc="0" normalizeH="0" baseline="0" noProof="0">
                <a:ln>
                  <a:noFill/>
                </a:ln>
                <a:solidFill>
                  <a:srgbClr val="282828"/>
                </a:solidFill>
                <a:effectLst/>
                <a:uLnTx/>
                <a:uFillTx/>
                <a:latin typeface="Open Sans"/>
                <a:ea typeface="Open Sans"/>
                <a:cs typeface="Open Sans"/>
              </a:rPr>
              <a:t>Suunnitelmassa tiedostetaan yhteystarve valtatien 4 itäpuolelle erityisesti jalan, pyörällä, hiihtäen tai moottorikelkalla. Eritasoliittymästä luodaan tarvittava jalankulun ja pyöräilyn väylä Merihelmen palveluille.</a:t>
            </a:r>
            <a:endParaRPr lang="fi-FI" sz="1200" b="0" i="0" u="none" strike="noStrike" kern="1200" cap="none" spc="0" normalizeH="0" baseline="0" noProof="0">
              <a:ln>
                <a:noFill/>
              </a:ln>
              <a:solidFill>
                <a:srgbClr val="282828"/>
              </a:solidFill>
              <a:effectLst/>
              <a:uLnTx/>
              <a:uFillTx/>
              <a:latin typeface="Open Sans"/>
              <a:ea typeface="Open Sans"/>
              <a:cs typeface="Open Sans"/>
            </a:endParaRPr>
          </a:p>
          <a:p>
            <a:pPr marL="0" marR="0" lvl="0" indent="0" algn="just" defTabSz="609585" rtl="0" eaLnBrk="1" fontAlgn="base" latinLnBrk="0" hangingPunct="1">
              <a:lnSpc>
                <a:spcPct val="100000"/>
              </a:lnSpc>
              <a:spcBef>
                <a:spcPts val="267"/>
              </a:spcBef>
              <a:spcAft>
                <a:spcPts val="267"/>
              </a:spcAft>
              <a:buClr>
                <a:srgbClr val="32912E"/>
              </a:buClr>
              <a:buSzPct val="120000"/>
              <a:buFont typeface="Wingdings" pitchFamily="2" charset="2"/>
              <a:buNone/>
              <a:tabLst/>
              <a:defRPr/>
            </a:pPr>
            <a:r>
              <a:rPr kumimoji="0" lang="fi-FI" sz="1200" b="1" i="1" u="sng" strike="noStrike" kern="1200" cap="none" spc="0" normalizeH="0" baseline="0" noProof="0">
                <a:ln>
                  <a:noFill/>
                </a:ln>
                <a:solidFill>
                  <a:srgbClr val="282828"/>
                </a:solidFill>
                <a:effectLst/>
                <a:uLnTx/>
                <a:uFillTx/>
                <a:latin typeface="Open Sans"/>
                <a:ea typeface="Open Sans"/>
                <a:cs typeface="Open Sans"/>
              </a:rPr>
              <a:t>Uudet yhteydet yms.</a:t>
            </a:r>
            <a:endParaRPr lang="fi-FI" sz="1200" b="1" i="1" u="sng" strike="noStrike" kern="1200" cap="none" spc="0" normalizeH="0" baseline="0" noProof="0">
              <a:ln>
                <a:noFill/>
              </a:ln>
              <a:solidFill>
                <a:srgbClr val="282828"/>
              </a:solidFill>
              <a:effectLst/>
              <a:uLnTx/>
              <a:uFillTx/>
              <a:latin typeface="Open Sans"/>
              <a:ea typeface="Open Sans"/>
              <a:cs typeface="Open Sans"/>
            </a:endParaRPr>
          </a:p>
          <a:p>
            <a:pPr marL="0" indent="0" algn="just">
              <a:buClr>
                <a:srgbClr val="32912E"/>
              </a:buClr>
              <a:buNone/>
              <a:defRPr/>
            </a:pPr>
            <a:r>
              <a:rPr kumimoji="0" lang="fi-FI" sz="1200" b="0" i="0" u="none" strike="noStrike" kern="1200" cap="none" spc="0" normalizeH="0" baseline="0" noProof="0">
                <a:ln>
                  <a:noFill/>
                </a:ln>
                <a:solidFill>
                  <a:srgbClr val="282828"/>
                </a:solidFill>
                <a:effectLst/>
                <a:uLnTx/>
                <a:uFillTx/>
                <a:latin typeface="Open Sans"/>
                <a:ea typeface="Open Sans"/>
                <a:cs typeface="Open Sans"/>
              </a:rPr>
              <a:t>Valtatien 4 linjausta muutetaan Myllynkankaan kohdalla. Valtatien 4 länsipuolella parannetaan rinnakkaisyhteyttä jo olemassa olevaan tiepohjaan. Tasoliittymien poistamisesta johtuen myös valtatien 4 itäpuolelle rakennetaan tarvittavat yhteydet.</a:t>
            </a:r>
            <a:r>
              <a:rPr lang="fi-FI" sz="1200" b="0">
                <a:solidFill>
                  <a:srgbClr val="282828"/>
                </a:solidFill>
                <a:latin typeface="Open Sans"/>
                <a:ea typeface="Open Sans"/>
                <a:cs typeface="Open Sans"/>
              </a:rPr>
              <a:t> </a:t>
            </a:r>
            <a:endParaRPr lang="fi-FI" sz="1200" b="0" i="0" u="none" strike="noStrike" kern="1200" cap="none" spc="0" normalizeH="0" baseline="0" noProof="0">
              <a:ln>
                <a:noFill/>
              </a:ln>
              <a:solidFill>
                <a:srgbClr val="282828"/>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just" defTabSz="609585" rtl="0" eaLnBrk="1" fontAlgn="base" latinLnBrk="0" hangingPunct="1">
              <a:lnSpc>
                <a:spcPct val="100000"/>
              </a:lnSpc>
              <a:spcBef>
                <a:spcPts val="267"/>
              </a:spcBef>
              <a:spcAft>
                <a:spcPts val="267"/>
              </a:spcAft>
              <a:buClr>
                <a:srgbClr val="32912E"/>
              </a:buClr>
              <a:buSzPct val="120000"/>
              <a:buFont typeface="Wingdings" pitchFamily="2" charset="2"/>
              <a:buNone/>
              <a:tabLst/>
              <a:defRPr/>
            </a:pPr>
            <a:r>
              <a:rPr kumimoji="0" lang="fi-FI" sz="1200" b="1" i="1" u="sng" strike="noStrike" kern="1200" cap="none" spc="0" normalizeH="0" baseline="0" noProof="0">
                <a:ln>
                  <a:noFill/>
                </a:ln>
                <a:solidFill>
                  <a:srgbClr val="282828"/>
                </a:solidFill>
                <a:effectLst/>
                <a:uLnTx/>
                <a:uFillTx/>
                <a:latin typeface="Open Sans"/>
                <a:ea typeface="Open Sans"/>
                <a:cs typeface="Open Sans"/>
              </a:rPr>
              <a:t>Saavutettavuus</a:t>
            </a:r>
            <a:endParaRPr lang="fi-FI" sz="1200" b="1" i="1" u="sng" strike="noStrike" kern="1200" cap="none" spc="0" normalizeH="0" baseline="0" noProof="0">
              <a:ln>
                <a:noFill/>
              </a:ln>
              <a:solidFill>
                <a:srgbClr val="282828"/>
              </a:solidFill>
              <a:effectLst/>
              <a:uLnTx/>
              <a:uFillTx/>
              <a:latin typeface="Open Sans"/>
              <a:ea typeface="Open Sans"/>
              <a:cs typeface="Open Sans"/>
            </a:endParaRPr>
          </a:p>
          <a:p>
            <a:pPr marL="0" indent="0" algn="just">
              <a:buClr>
                <a:srgbClr val="32912E"/>
              </a:buClr>
              <a:buNone/>
              <a:defRPr/>
            </a:pPr>
            <a:r>
              <a:rPr kumimoji="0" lang="fi-FI" sz="1200" b="0" i="0" u="none" strike="noStrike" kern="1200" cap="none" spc="0" normalizeH="0" baseline="0" noProof="0">
                <a:ln>
                  <a:noFill/>
                </a:ln>
                <a:solidFill>
                  <a:srgbClr val="282828"/>
                </a:solidFill>
                <a:effectLst/>
                <a:uLnTx/>
                <a:uFillTx/>
                <a:latin typeface="Open Sans"/>
                <a:ea typeface="Open Sans"/>
                <a:cs typeface="Open Sans"/>
              </a:rPr>
              <a:t>Ei merkittäviä muutoksia saavutettavuudessa Myllykankaan tai Merihelmen saavutettavuudessa. Valtatien 4 läheisyydessä oleville taloille</a:t>
            </a:r>
            <a:r>
              <a:rPr lang="fi-FI" sz="1200" b="0">
                <a:solidFill>
                  <a:srgbClr val="282828"/>
                </a:solidFill>
                <a:latin typeface="Open Sans"/>
                <a:ea typeface="Open Sans"/>
                <a:cs typeface="Open Sans"/>
              </a:rPr>
              <a:t> </a:t>
            </a:r>
            <a:r>
              <a:rPr kumimoji="0" lang="fi-FI" sz="1200" b="0" i="0" u="none" strike="noStrike" kern="1200" cap="none" spc="0" normalizeH="0" baseline="0" noProof="0">
                <a:ln>
                  <a:noFill/>
                </a:ln>
                <a:solidFill>
                  <a:srgbClr val="282828"/>
                </a:solidFill>
                <a:effectLst/>
                <a:uLnTx/>
                <a:uFillTx/>
                <a:latin typeface="Open Sans"/>
                <a:ea typeface="Open Sans"/>
                <a:cs typeface="Open Sans"/>
              </a:rPr>
              <a:t> matka-aika pitenee liittymän katkaisuista ja rinnakkaistiejärjestelyistä johtuen.</a:t>
            </a:r>
            <a:endParaRPr lang="fi-FI" sz="1200" b="0" i="0" u="none" strike="noStrike" kern="1200" cap="none" spc="0" normalizeH="0" baseline="0" noProof="0">
              <a:ln>
                <a:noFill/>
              </a:ln>
              <a:solidFill>
                <a:srgbClr val="282828"/>
              </a:solidFill>
              <a:effectLst/>
              <a:uLnTx/>
              <a:uFillTx/>
              <a:latin typeface="Open Sans"/>
              <a:ea typeface="Open Sans"/>
              <a:cs typeface="Open Sans"/>
            </a:endParaRPr>
          </a:p>
        </p:txBody>
      </p:sp>
      <p:sp>
        <p:nvSpPr>
          <p:cNvPr id="7" name="Otsikko 3">
            <a:extLst>
              <a:ext uri="{FF2B5EF4-FFF2-40B4-BE49-F238E27FC236}">
                <a16:creationId xmlns:a16="http://schemas.microsoft.com/office/drawing/2014/main" id="{DBECDD3F-BE95-4271-A6CA-54944F6C8BC5}"/>
              </a:ext>
            </a:extLst>
          </p:cNvPr>
          <p:cNvSpPr txBox="1">
            <a:spLocks/>
          </p:cNvSpPr>
          <p:nvPr/>
        </p:nvSpPr>
        <p:spPr>
          <a:xfrm>
            <a:off x="600900" y="472515"/>
            <a:ext cx="5492808" cy="569863"/>
          </a:xfrm>
          <a:prstGeom prst="rect">
            <a:avLst/>
          </a:prstGeom>
        </p:spPr>
        <p:txBody>
          <a:bodyPr/>
          <a:lstStyle>
            <a:lvl1pPr algn="l" defTabSz="609585" rtl="0" eaLnBrk="1" fontAlgn="base" hangingPunct="1">
              <a:lnSpc>
                <a:spcPct val="80000"/>
              </a:lnSpc>
              <a:spcBef>
                <a:spcPct val="0"/>
              </a:spcBef>
              <a:spcAft>
                <a:spcPct val="0"/>
              </a:spcAft>
              <a:defRPr sz="3200" b="1" i="0" kern="1200">
                <a:solidFill>
                  <a:schemeClr val="accent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2pPr>
            <a:lvl3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3pPr>
            <a:lvl4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4pPr>
            <a:lvl5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5pPr>
            <a:lvl6pPr marL="609585"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6pPr>
            <a:lvl7pPr marL="1219170"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7pPr>
            <a:lvl8pPr marL="1828754"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8pPr>
            <a:lvl9pPr marL="2438339"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9pPr>
          </a:lstStyle>
          <a:p>
            <a:pPr marL="0" marR="0" lvl="0" indent="0" algn="l" defTabSz="609585" rtl="0" eaLnBrk="1" fontAlgn="base" latinLnBrk="0" hangingPunct="1">
              <a:lnSpc>
                <a:spcPct val="80000"/>
              </a:lnSpc>
              <a:spcBef>
                <a:spcPct val="0"/>
              </a:spcBef>
              <a:spcAft>
                <a:spcPct val="0"/>
              </a:spcAft>
              <a:buClrTx/>
              <a:buSzTx/>
              <a:buFontTx/>
              <a:buNone/>
              <a:tabLst/>
              <a:defRPr/>
            </a:pPr>
            <a:r>
              <a:rPr kumimoji="0" lang="fi-FI" sz="3200" b="1" i="0" u="none" strike="noStrike" kern="1200" cap="none" spc="0" normalizeH="0" baseline="0" noProof="0">
                <a:ln>
                  <a:noFill/>
                </a:ln>
                <a:solidFill>
                  <a:srgbClr val="32912E"/>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Myllykangas / Merihelmi</a:t>
            </a:r>
          </a:p>
        </p:txBody>
      </p:sp>
      <p:sp>
        <p:nvSpPr>
          <p:cNvPr id="10" name="Vapaamuotoinen: Muoto 9">
            <a:extLst>
              <a:ext uri="{FF2B5EF4-FFF2-40B4-BE49-F238E27FC236}">
                <a16:creationId xmlns:a16="http://schemas.microsoft.com/office/drawing/2014/main" id="{8957A8EE-95A8-4CC1-B6ED-FE470B36BB43}"/>
              </a:ext>
            </a:extLst>
          </p:cNvPr>
          <p:cNvSpPr/>
          <p:nvPr/>
        </p:nvSpPr>
        <p:spPr>
          <a:xfrm>
            <a:off x="9886950" y="6350"/>
            <a:ext cx="2311400" cy="3619500"/>
          </a:xfrm>
          <a:custGeom>
            <a:avLst/>
            <a:gdLst>
              <a:gd name="connsiteX0" fmla="*/ 2311400 w 2311400"/>
              <a:gd name="connsiteY0" fmla="*/ 3619500 h 3619500"/>
              <a:gd name="connsiteX1" fmla="*/ 1841500 w 2311400"/>
              <a:gd name="connsiteY1" fmla="*/ 2984500 h 3619500"/>
              <a:gd name="connsiteX2" fmla="*/ 1543050 w 2311400"/>
              <a:gd name="connsiteY2" fmla="*/ 2654300 h 3619500"/>
              <a:gd name="connsiteX3" fmla="*/ 1136650 w 2311400"/>
              <a:gd name="connsiteY3" fmla="*/ 2127250 h 3619500"/>
              <a:gd name="connsiteX4" fmla="*/ 0 w 2311400"/>
              <a:gd name="connsiteY4" fmla="*/ 0 h 3619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1400" h="3619500">
                <a:moveTo>
                  <a:pt x="2311400" y="3619500"/>
                </a:moveTo>
                <a:cubicBezTo>
                  <a:pt x="2140479" y="3382433"/>
                  <a:pt x="1969558" y="3145367"/>
                  <a:pt x="1841500" y="2984500"/>
                </a:cubicBezTo>
                <a:cubicBezTo>
                  <a:pt x="1713442" y="2823633"/>
                  <a:pt x="1660525" y="2797175"/>
                  <a:pt x="1543050" y="2654300"/>
                </a:cubicBezTo>
                <a:cubicBezTo>
                  <a:pt x="1425575" y="2511425"/>
                  <a:pt x="1393825" y="2569633"/>
                  <a:pt x="1136650" y="2127250"/>
                </a:cubicBezTo>
                <a:cubicBezTo>
                  <a:pt x="879475" y="1684867"/>
                  <a:pt x="439737" y="842433"/>
                  <a:pt x="0" y="0"/>
                </a:cubicBezTo>
              </a:path>
            </a:pathLst>
          </a:custGeom>
          <a:noFill/>
          <a:ln w="38100">
            <a:solidFill>
              <a:schemeClr val="accent3"/>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Kertomerkki 14">
            <a:extLst>
              <a:ext uri="{FF2B5EF4-FFF2-40B4-BE49-F238E27FC236}">
                <a16:creationId xmlns:a16="http://schemas.microsoft.com/office/drawing/2014/main" id="{45044421-C9DE-40A2-8847-51CA9854CF30}"/>
              </a:ext>
            </a:extLst>
          </p:cNvPr>
          <p:cNvSpPr/>
          <p:nvPr/>
        </p:nvSpPr>
        <p:spPr>
          <a:xfrm rot="20870599">
            <a:off x="8630685" y="2392045"/>
            <a:ext cx="144000" cy="144000"/>
          </a:xfrm>
          <a:prstGeom prst="mathMultiply">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err="1">
              <a:ln>
                <a:noFill/>
              </a:ln>
              <a:solidFill>
                <a:srgbClr val="FFFFFF"/>
              </a:solidFill>
              <a:effectLst/>
              <a:uLnTx/>
              <a:uFillTx/>
              <a:latin typeface="Open sans"/>
              <a:ea typeface="Muli" charset="0"/>
              <a:cs typeface="Muli" charset="0"/>
            </a:endParaRPr>
          </a:p>
        </p:txBody>
      </p:sp>
      <p:sp>
        <p:nvSpPr>
          <p:cNvPr id="17" name="Kuvaselite: Taipunut viiva 16">
            <a:extLst>
              <a:ext uri="{FF2B5EF4-FFF2-40B4-BE49-F238E27FC236}">
                <a16:creationId xmlns:a16="http://schemas.microsoft.com/office/drawing/2014/main" id="{5DC83925-831D-4A75-AA2D-E86675E2653F}"/>
              </a:ext>
            </a:extLst>
          </p:cNvPr>
          <p:cNvSpPr/>
          <p:nvPr/>
        </p:nvSpPr>
        <p:spPr>
          <a:xfrm>
            <a:off x="9506472" y="1738005"/>
            <a:ext cx="1611805" cy="480661"/>
          </a:xfrm>
          <a:prstGeom prst="borderCallout2">
            <a:avLst>
              <a:gd name="adj1" fmla="val 88021"/>
              <a:gd name="adj2" fmla="val 627"/>
              <a:gd name="adj3" fmla="val 85239"/>
              <a:gd name="adj4" fmla="val -14307"/>
              <a:gd name="adj5" fmla="val 161142"/>
              <a:gd name="adj6" fmla="val -34522"/>
            </a:avLst>
          </a:prstGeom>
          <a:ln>
            <a:solidFill>
              <a:schemeClr val="accent5"/>
            </a:solidFill>
            <a:headEnd w="sm" len="sm"/>
            <a:tailEnd type="none" w="med" len="me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fi-FI" sz="700" b="1" i="0" u="none" strike="noStrike" kern="1200" cap="none" spc="0" normalizeH="0" baseline="0" noProof="0">
                <a:ln>
                  <a:noFill/>
                </a:ln>
                <a:solidFill>
                  <a:sysClr val="windowText" lastClr="000000"/>
                </a:solidFill>
                <a:effectLst/>
                <a:uLnTx/>
                <a:uFillTx/>
                <a:latin typeface="Open sans"/>
                <a:ea typeface="Muli" charset="0"/>
                <a:cs typeface="Muli" charset="0"/>
              </a:rPr>
              <a:t>Yhteystarve tien itäpuolelle (jalankulku, pyöräily, hiihto &amp; moottorikelkkailu)</a:t>
            </a:r>
          </a:p>
        </p:txBody>
      </p:sp>
      <p:sp>
        <p:nvSpPr>
          <p:cNvPr id="18" name="Vapaamuotoinen: Muoto 17">
            <a:extLst>
              <a:ext uri="{FF2B5EF4-FFF2-40B4-BE49-F238E27FC236}">
                <a16:creationId xmlns:a16="http://schemas.microsoft.com/office/drawing/2014/main" id="{6B734748-A67A-4B05-96BD-CFF8B4179BC0}"/>
              </a:ext>
            </a:extLst>
          </p:cNvPr>
          <p:cNvSpPr/>
          <p:nvPr/>
        </p:nvSpPr>
        <p:spPr>
          <a:xfrm>
            <a:off x="6988472" y="0"/>
            <a:ext cx="1579331" cy="2699359"/>
          </a:xfrm>
          <a:custGeom>
            <a:avLst/>
            <a:gdLst>
              <a:gd name="connsiteX0" fmla="*/ 26103 w 1579331"/>
              <a:gd name="connsiteY0" fmla="*/ 0 h 2699359"/>
              <a:gd name="connsiteX1" fmla="*/ 1051 w 1579331"/>
              <a:gd name="connsiteY1" fmla="*/ 194153 h 2699359"/>
              <a:gd name="connsiteX2" fmla="*/ 57418 w 1579331"/>
              <a:gd name="connsiteY2" fmla="*/ 482252 h 2699359"/>
              <a:gd name="connsiteX3" fmla="*/ 176416 w 1579331"/>
              <a:gd name="connsiteY3" fmla="*/ 770351 h 2699359"/>
              <a:gd name="connsiteX4" fmla="*/ 502092 w 1579331"/>
              <a:gd name="connsiteY4" fmla="*/ 1152395 h 2699359"/>
              <a:gd name="connsiteX5" fmla="*/ 859084 w 1579331"/>
              <a:gd name="connsiteY5" fmla="*/ 1640910 h 2699359"/>
              <a:gd name="connsiteX6" fmla="*/ 1203550 w 1579331"/>
              <a:gd name="connsiteY6" fmla="*/ 2079321 h 2699359"/>
              <a:gd name="connsiteX7" fmla="*/ 1397703 w 1579331"/>
              <a:gd name="connsiteY7" fmla="*/ 2386208 h 2699359"/>
              <a:gd name="connsiteX8" fmla="*/ 1579331 w 1579331"/>
              <a:gd name="connsiteY8" fmla="*/ 2699359 h 2699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9331" h="2699359">
                <a:moveTo>
                  <a:pt x="26103" y="0"/>
                </a:moveTo>
                <a:cubicBezTo>
                  <a:pt x="10967" y="56889"/>
                  <a:pt x="-4168" y="113778"/>
                  <a:pt x="1051" y="194153"/>
                </a:cubicBezTo>
                <a:cubicBezTo>
                  <a:pt x="6270" y="274528"/>
                  <a:pt x="28191" y="386219"/>
                  <a:pt x="57418" y="482252"/>
                </a:cubicBezTo>
                <a:cubicBezTo>
                  <a:pt x="86646" y="578285"/>
                  <a:pt x="102304" y="658661"/>
                  <a:pt x="176416" y="770351"/>
                </a:cubicBezTo>
                <a:cubicBezTo>
                  <a:pt x="250528" y="882041"/>
                  <a:pt x="388314" y="1007302"/>
                  <a:pt x="502092" y="1152395"/>
                </a:cubicBezTo>
                <a:cubicBezTo>
                  <a:pt x="615870" y="1297488"/>
                  <a:pt x="742174" y="1486422"/>
                  <a:pt x="859084" y="1640910"/>
                </a:cubicBezTo>
                <a:cubicBezTo>
                  <a:pt x="975994" y="1795398"/>
                  <a:pt x="1113780" y="1955105"/>
                  <a:pt x="1203550" y="2079321"/>
                </a:cubicBezTo>
                <a:cubicBezTo>
                  <a:pt x="1293320" y="2203537"/>
                  <a:pt x="1335073" y="2282869"/>
                  <a:pt x="1397703" y="2386208"/>
                </a:cubicBezTo>
                <a:cubicBezTo>
                  <a:pt x="1460333" y="2489547"/>
                  <a:pt x="1519832" y="2594453"/>
                  <a:pt x="1579331" y="2699359"/>
                </a:cubicBezTo>
              </a:path>
            </a:pathLst>
          </a:custGeom>
          <a:noFill/>
          <a:ln w="28575">
            <a:solidFill>
              <a:srgbClr val="3B70B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21" name="Suora yhdysviiva 20">
            <a:extLst>
              <a:ext uri="{FF2B5EF4-FFF2-40B4-BE49-F238E27FC236}">
                <a16:creationId xmlns:a16="http://schemas.microsoft.com/office/drawing/2014/main" id="{43C1BDC1-3285-411A-8428-9E8831195FFE}"/>
              </a:ext>
            </a:extLst>
          </p:cNvPr>
          <p:cNvCxnSpPr>
            <a:cxnSpLocks/>
          </p:cNvCxnSpPr>
          <p:nvPr/>
        </p:nvCxnSpPr>
        <p:spPr>
          <a:xfrm flipV="1">
            <a:off x="8957487" y="3625851"/>
            <a:ext cx="575719" cy="328776"/>
          </a:xfrm>
          <a:prstGeom prst="line">
            <a:avLst/>
          </a:prstGeom>
          <a:ln w="57150">
            <a:solidFill>
              <a:srgbClr val="FF0000"/>
            </a:solidFill>
            <a:tailEnd type="none"/>
          </a:ln>
          <a:effectLst/>
        </p:spPr>
        <p:style>
          <a:lnRef idx="2">
            <a:schemeClr val="accent1"/>
          </a:lnRef>
          <a:fillRef idx="0">
            <a:schemeClr val="accent1"/>
          </a:fillRef>
          <a:effectRef idx="1">
            <a:schemeClr val="accent1"/>
          </a:effectRef>
          <a:fontRef idx="minor">
            <a:schemeClr val="tx1"/>
          </a:fontRef>
        </p:style>
      </p:cxnSp>
      <p:sp>
        <p:nvSpPr>
          <p:cNvPr id="26" name="Vapaamuotoinen: Muoto 25">
            <a:extLst>
              <a:ext uri="{FF2B5EF4-FFF2-40B4-BE49-F238E27FC236}">
                <a16:creationId xmlns:a16="http://schemas.microsoft.com/office/drawing/2014/main" id="{FA3863D9-89A9-4FA8-BD01-E2AD99FCDC8D}"/>
              </a:ext>
            </a:extLst>
          </p:cNvPr>
          <p:cNvSpPr/>
          <p:nvPr/>
        </p:nvSpPr>
        <p:spPr>
          <a:xfrm>
            <a:off x="8599118" y="2724411"/>
            <a:ext cx="313150" cy="1177447"/>
          </a:xfrm>
          <a:custGeom>
            <a:avLst/>
            <a:gdLst>
              <a:gd name="connsiteX0" fmla="*/ 313150 w 313150"/>
              <a:gd name="connsiteY0" fmla="*/ 1177447 h 1177447"/>
              <a:gd name="connsiteX1" fmla="*/ 200416 w 313150"/>
              <a:gd name="connsiteY1" fmla="*/ 901874 h 1177447"/>
              <a:gd name="connsiteX2" fmla="*/ 125260 w 313150"/>
              <a:gd name="connsiteY2" fmla="*/ 382044 h 1177447"/>
              <a:gd name="connsiteX3" fmla="*/ 0 w 313150"/>
              <a:gd name="connsiteY3" fmla="*/ 0 h 1177447"/>
            </a:gdLst>
            <a:ahLst/>
            <a:cxnLst>
              <a:cxn ang="0">
                <a:pos x="connsiteX0" y="connsiteY0"/>
              </a:cxn>
              <a:cxn ang="0">
                <a:pos x="connsiteX1" y="connsiteY1"/>
              </a:cxn>
              <a:cxn ang="0">
                <a:pos x="connsiteX2" y="connsiteY2"/>
              </a:cxn>
              <a:cxn ang="0">
                <a:pos x="connsiteX3" y="connsiteY3"/>
              </a:cxn>
            </a:cxnLst>
            <a:rect l="l" t="t" r="r" b="b"/>
            <a:pathLst>
              <a:path w="313150" h="1177447">
                <a:moveTo>
                  <a:pt x="313150" y="1177447"/>
                </a:moveTo>
                <a:cubicBezTo>
                  <a:pt x="272440" y="1105944"/>
                  <a:pt x="231731" y="1034441"/>
                  <a:pt x="200416" y="901874"/>
                </a:cubicBezTo>
                <a:cubicBezTo>
                  <a:pt x="169101" y="769307"/>
                  <a:pt x="158663" y="532356"/>
                  <a:pt x="125260" y="382044"/>
                </a:cubicBezTo>
                <a:cubicBezTo>
                  <a:pt x="91857" y="231732"/>
                  <a:pt x="45928" y="115866"/>
                  <a:pt x="0" y="0"/>
                </a:cubicBezTo>
              </a:path>
            </a:pathLst>
          </a:custGeom>
          <a:no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8" name="Vapaamuotoinen: Muoto 27">
            <a:extLst>
              <a:ext uri="{FF2B5EF4-FFF2-40B4-BE49-F238E27FC236}">
                <a16:creationId xmlns:a16="http://schemas.microsoft.com/office/drawing/2014/main" id="{3299B8F5-5859-4FE0-8D48-DCAEA9A0638D}"/>
              </a:ext>
            </a:extLst>
          </p:cNvPr>
          <p:cNvSpPr/>
          <p:nvPr/>
        </p:nvSpPr>
        <p:spPr>
          <a:xfrm>
            <a:off x="7333989" y="6263"/>
            <a:ext cx="4221271" cy="6851737"/>
          </a:xfrm>
          <a:custGeom>
            <a:avLst/>
            <a:gdLst>
              <a:gd name="connsiteX0" fmla="*/ 4221271 w 4221271"/>
              <a:gd name="connsiteY0" fmla="*/ 6851737 h 6851737"/>
              <a:gd name="connsiteX1" fmla="*/ 3820438 w 4221271"/>
              <a:gd name="connsiteY1" fmla="*/ 6212910 h 6851737"/>
              <a:gd name="connsiteX2" fmla="*/ 3400816 w 4221271"/>
              <a:gd name="connsiteY2" fmla="*/ 5655501 h 6851737"/>
              <a:gd name="connsiteX3" fmla="*/ 2862197 w 4221271"/>
              <a:gd name="connsiteY3" fmla="*/ 5110619 h 6851737"/>
              <a:gd name="connsiteX4" fmla="*/ 2642992 w 4221271"/>
              <a:gd name="connsiteY4" fmla="*/ 4866362 h 6851737"/>
              <a:gd name="connsiteX5" fmla="*/ 2323578 w 4221271"/>
              <a:gd name="connsiteY5" fmla="*/ 4453003 h 6851737"/>
              <a:gd name="connsiteX6" fmla="*/ 1941534 w 4221271"/>
              <a:gd name="connsiteY6" fmla="*/ 3895595 h 6851737"/>
              <a:gd name="connsiteX7" fmla="*/ 1741118 w 4221271"/>
              <a:gd name="connsiteY7" fmla="*/ 3532340 h 6851737"/>
              <a:gd name="connsiteX8" fmla="*/ 1559490 w 4221271"/>
              <a:gd name="connsiteY8" fmla="*/ 3106455 h 6851737"/>
              <a:gd name="connsiteX9" fmla="*/ 1290181 w 4221271"/>
              <a:gd name="connsiteY9" fmla="*/ 2473890 h 6851737"/>
              <a:gd name="connsiteX10" fmla="*/ 895611 w 4221271"/>
              <a:gd name="connsiteY10" fmla="*/ 1722329 h 6851737"/>
              <a:gd name="connsiteX11" fmla="*/ 444674 w 4221271"/>
              <a:gd name="connsiteY11" fmla="*/ 1114816 h 6851737"/>
              <a:gd name="connsiteX12" fmla="*/ 181627 w 4221271"/>
              <a:gd name="connsiteY12" fmla="*/ 638827 h 6851737"/>
              <a:gd name="connsiteX13" fmla="*/ 0 w 4221271"/>
              <a:gd name="connsiteY13" fmla="*/ 0 h 6851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21271" h="6851737">
                <a:moveTo>
                  <a:pt x="4221271" y="6851737"/>
                </a:moveTo>
                <a:cubicBezTo>
                  <a:pt x="4089225" y="6632010"/>
                  <a:pt x="3957180" y="6412283"/>
                  <a:pt x="3820438" y="6212910"/>
                </a:cubicBezTo>
                <a:cubicBezTo>
                  <a:pt x="3683695" y="6013537"/>
                  <a:pt x="3560523" y="5839216"/>
                  <a:pt x="3400816" y="5655501"/>
                </a:cubicBezTo>
                <a:cubicBezTo>
                  <a:pt x="3241109" y="5471786"/>
                  <a:pt x="2988501" y="5242142"/>
                  <a:pt x="2862197" y="5110619"/>
                </a:cubicBezTo>
                <a:cubicBezTo>
                  <a:pt x="2735893" y="4979096"/>
                  <a:pt x="2732762" y="4975965"/>
                  <a:pt x="2642992" y="4866362"/>
                </a:cubicBezTo>
                <a:cubicBezTo>
                  <a:pt x="2553222" y="4756759"/>
                  <a:pt x="2440488" y="4614798"/>
                  <a:pt x="2323578" y="4453003"/>
                </a:cubicBezTo>
                <a:cubicBezTo>
                  <a:pt x="2206668" y="4291208"/>
                  <a:pt x="2038611" y="4049039"/>
                  <a:pt x="1941534" y="3895595"/>
                </a:cubicBezTo>
                <a:cubicBezTo>
                  <a:pt x="1844457" y="3742151"/>
                  <a:pt x="1804792" y="3663863"/>
                  <a:pt x="1741118" y="3532340"/>
                </a:cubicBezTo>
                <a:cubicBezTo>
                  <a:pt x="1677444" y="3400817"/>
                  <a:pt x="1559490" y="3106455"/>
                  <a:pt x="1559490" y="3106455"/>
                </a:cubicBezTo>
                <a:cubicBezTo>
                  <a:pt x="1484334" y="2930047"/>
                  <a:pt x="1400827" y="2704578"/>
                  <a:pt x="1290181" y="2473890"/>
                </a:cubicBezTo>
                <a:cubicBezTo>
                  <a:pt x="1179534" y="2243202"/>
                  <a:pt x="1036529" y="1948841"/>
                  <a:pt x="895611" y="1722329"/>
                </a:cubicBezTo>
                <a:cubicBezTo>
                  <a:pt x="754693" y="1495817"/>
                  <a:pt x="563671" y="1295400"/>
                  <a:pt x="444674" y="1114816"/>
                </a:cubicBezTo>
                <a:cubicBezTo>
                  <a:pt x="325677" y="934232"/>
                  <a:pt x="255739" y="824630"/>
                  <a:pt x="181627" y="638827"/>
                </a:cubicBezTo>
                <a:cubicBezTo>
                  <a:pt x="107515" y="453024"/>
                  <a:pt x="53757" y="226512"/>
                  <a:pt x="0" y="0"/>
                </a:cubicBezTo>
              </a:path>
            </a:pathLst>
          </a:custGeom>
          <a:ln w="57150"/>
        </p:spPr>
        <p:style>
          <a:lnRef idx="1">
            <a:schemeClr val="accent4"/>
          </a:lnRef>
          <a:fillRef idx="0">
            <a:schemeClr val="accent4"/>
          </a:fillRef>
          <a:effectRef idx="0">
            <a:schemeClr val="accent4"/>
          </a:effectRef>
          <a:fontRef idx="minor">
            <a:schemeClr val="tx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a:ln>
                <a:noFill/>
              </a:ln>
              <a:solidFill>
                <a:srgbClr val="505050"/>
              </a:solidFill>
              <a:effectLst/>
              <a:uLnTx/>
              <a:uFillTx/>
              <a:latin typeface="Open sans"/>
              <a:ea typeface="+mn-ea"/>
              <a:cs typeface="+mn-cs"/>
            </a:endParaRPr>
          </a:p>
        </p:txBody>
      </p:sp>
      <p:sp>
        <p:nvSpPr>
          <p:cNvPr id="30" name="Kertomerkki 29">
            <a:extLst>
              <a:ext uri="{FF2B5EF4-FFF2-40B4-BE49-F238E27FC236}">
                <a16:creationId xmlns:a16="http://schemas.microsoft.com/office/drawing/2014/main" id="{38E0C513-C6F9-4952-9CFE-87907FECBD1F}"/>
              </a:ext>
            </a:extLst>
          </p:cNvPr>
          <p:cNvSpPr/>
          <p:nvPr/>
        </p:nvSpPr>
        <p:spPr>
          <a:xfrm rot="20870599">
            <a:off x="9323299" y="4300224"/>
            <a:ext cx="144000" cy="144000"/>
          </a:xfrm>
          <a:prstGeom prst="mathMultiply">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err="1">
              <a:ln>
                <a:noFill/>
              </a:ln>
              <a:solidFill>
                <a:srgbClr val="FFFFFF"/>
              </a:solidFill>
              <a:effectLst/>
              <a:uLnTx/>
              <a:uFillTx/>
              <a:latin typeface="Open sans"/>
              <a:ea typeface="Muli" charset="0"/>
              <a:cs typeface="Muli" charset="0"/>
            </a:endParaRPr>
          </a:p>
        </p:txBody>
      </p:sp>
      <p:sp>
        <p:nvSpPr>
          <p:cNvPr id="32" name="Vapaamuotoinen: Muoto 31">
            <a:extLst>
              <a:ext uri="{FF2B5EF4-FFF2-40B4-BE49-F238E27FC236}">
                <a16:creationId xmlns:a16="http://schemas.microsoft.com/office/drawing/2014/main" id="{97394DB1-DA4B-4A2F-ADEC-38B4B444E402}"/>
              </a:ext>
            </a:extLst>
          </p:cNvPr>
          <p:cNvSpPr/>
          <p:nvPr/>
        </p:nvSpPr>
        <p:spPr>
          <a:xfrm>
            <a:off x="8908256" y="3893344"/>
            <a:ext cx="404813" cy="515894"/>
          </a:xfrm>
          <a:custGeom>
            <a:avLst/>
            <a:gdLst>
              <a:gd name="connsiteX0" fmla="*/ 0 w 404813"/>
              <a:gd name="connsiteY0" fmla="*/ 0 h 515894"/>
              <a:gd name="connsiteX1" fmla="*/ 111919 w 404813"/>
              <a:gd name="connsiteY1" fmla="*/ 200025 h 515894"/>
              <a:gd name="connsiteX2" fmla="*/ 211932 w 404813"/>
              <a:gd name="connsiteY2" fmla="*/ 335756 h 515894"/>
              <a:gd name="connsiteX3" fmla="*/ 347663 w 404813"/>
              <a:gd name="connsiteY3" fmla="*/ 447675 h 515894"/>
              <a:gd name="connsiteX4" fmla="*/ 383382 w 404813"/>
              <a:gd name="connsiteY4" fmla="*/ 507206 h 515894"/>
              <a:gd name="connsiteX5" fmla="*/ 404813 w 404813"/>
              <a:gd name="connsiteY5" fmla="*/ 514350 h 515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813" h="515894">
                <a:moveTo>
                  <a:pt x="0" y="0"/>
                </a:moveTo>
                <a:cubicBezTo>
                  <a:pt x="38298" y="72033"/>
                  <a:pt x="76597" y="144066"/>
                  <a:pt x="111919" y="200025"/>
                </a:cubicBezTo>
                <a:cubicBezTo>
                  <a:pt x="147241" y="255984"/>
                  <a:pt x="172641" y="294481"/>
                  <a:pt x="211932" y="335756"/>
                </a:cubicBezTo>
                <a:cubicBezTo>
                  <a:pt x="251223" y="377031"/>
                  <a:pt x="319088" y="419100"/>
                  <a:pt x="347663" y="447675"/>
                </a:cubicBezTo>
                <a:cubicBezTo>
                  <a:pt x="376238" y="476250"/>
                  <a:pt x="373857" y="496094"/>
                  <a:pt x="383382" y="507206"/>
                </a:cubicBezTo>
                <a:cubicBezTo>
                  <a:pt x="392907" y="518319"/>
                  <a:pt x="398860" y="516334"/>
                  <a:pt x="404813" y="514350"/>
                </a:cubicBezTo>
              </a:path>
            </a:pathLst>
          </a:custGeom>
          <a:noFill/>
          <a:ln w="285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Open sans"/>
              <a:ea typeface="+mn-ea"/>
              <a:cs typeface="+mn-cs"/>
            </a:endParaRPr>
          </a:p>
        </p:txBody>
      </p:sp>
      <p:sp>
        <p:nvSpPr>
          <p:cNvPr id="35" name="Ellipsi 34">
            <a:extLst>
              <a:ext uri="{FF2B5EF4-FFF2-40B4-BE49-F238E27FC236}">
                <a16:creationId xmlns:a16="http://schemas.microsoft.com/office/drawing/2014/main" id="{2CE3DFA8-A193-4264-BBA2-801F5CF6FE60}"/>
              </a:ext>
            </a:extLst>
          </p:cNvPr>
          <p:cNvSpPr/>
          <p:nvPr/>
        </p:nvSpPr>
        <p:spPr>
          <a:xfrm>
            <a:off x="9150440" y="3742703"/>
            <a:ext cx="144000" cy="144000"/>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err="1">
              <a:ln>
                <a:noFill/>
              </a:ln>
              <a:solidFill>
                <a:srgbClr val="FFFFFF"/>
              </a:solidFill>
              <a:effectLst/>
              <a:uLnTx/>
              <a:uFillTx/>
              <a:latin typeface="Open sans"/>
              <a:ea typeface="Muli" charset="0"/>
              <a:cs typeface="Muli" charset="0"/>
            </a:endParaRPr>
          </a:p>
        </p:txBody>
      </p:sp>
      <p:cxnSp>
        <p:nvCxnSpPr>
          <p:cNvPr id="36" name="Suora yhdysviiva 35">
            <a:extLst>
              <a:ext uri="{FF2B5EF4-FFF2-40B4-BE49-F238E27FC236}">
                <a16:creationId xmlns:a16="http://schemas.microsoft.com/office/drawing/2014/main" id="{2FD52190-002F-47BF-BC34-10C98FDD2E12}"/>
              </a:ext>
            </a:extLst>
          </p:cNvPr>
          <p:cNvCxnSpPr>
            <a:cxnSpLocks/>
          </p:cNvCxnSpPr>
          <p:nvPr/>
        </p:nvCxnSpPr>
        <p:spPr>
          <a:xfrm flipH="1" flipV="1">
            <a:off x="8617996" y="3707637"/>
            <a:ext cx="577095" cy="106652"/>
          </a:xfrm>
          <a:prstGeom prst="line">
            <a:avLst/>
          </a:prstGeom>
          <a:ln w="12700">
            <a:solidFill>
              <a:srgbClr val="000000"/>
            </a:solidFill>
            <a:tailEnd type="none"/>
          </a:ln>
          <a:effectLst/>
        </p:spPr>
        <p:style>
          <a:lnRef idx="2">
            <a:schemeClr val="accent1"/>
          </a:lnRef>
          <a:fillRef idx="0">
            <a:schemeClr val="accent1"/>
          </a:fillRef>
          <a:effectRef idx="1">
            <a:schemeClr val="accent1"/>
          </a:effectRef>
          <a:fontRef idx="minor">
            <a:schemeClr val="tx1"/>
          </a:fontRef>
        </p:style>
      </p:cxnSp>
      <p:pic>
        <p:nvPicPr>
          <p:cNvPr id="37" name="Kuva 36">
            <a:extLst>
              <a:ext uri="{FF2B5EF4-FFF2-40B4-BE49-F238E27FC236}">
                <a16:creationId xmlns:a16="http://schemas.microsoft.com/office/drawing/2014/main" id="{C4C5C35C-8C01-4538-AF9E-C5B1C12B7866}"/>
              </a:ext>
            </a:extLst>
          </p:cNvPr>
          <p:cNvPicPr>
            <a:picLocks noChangeAspect="1"/>
          </p:cNvPicPr>
          <p:nvPr/>
        </p:nvPicPr>
        <p:blipFill>
          <a:blip r:embed="rId3"/>
          <a:stretch>
            <a:fillRect/>
          </a:stretch>
        </p:blipFill>
        <p:spPr>
          <a:xfrm>
            <a:off x="8354908" y="3606900"/>
            <a:ext cx="327477" cy="177423"/>
          </a:xfrm>
          <a:prstGeom prst="rect">
            <a:avLst/>
          </a:prstGeom>
        </p:spPr>
      </p:pic>
      <p:cxnSp>
        <p:nvCxnSpPr>
          <p:cNvPr id="38" name="Suora yhdysviiva 37">
            <a:extLst>
              <a:ext uri="{FF2B5EF4-FFF2-40B4-BE49-F238E27FC236}">
                <a16:creationId xmlns:a16="http://schemas.microsoft.com/office/drawing/2014/main" id="{A2E45992-663B-4150-B9E2-3B6CE72BB04A}"/>
              </a:ext>
            </a:extLst>
          </p:cNvPr>
          <p:cNvCxnSpPr>
            <a:cxnSpLocks/>
            <a:endCxn id="35" idx="7"/>
          </p:cNvCxnSpPr>
          <p:nvPr/>
        </p:nvCxnSpPr>
        <p:spPr>
          <a:xfrm flipH="1">
            <a:off x="9273352" y="3429914"/>
            <a:ext cx="244546" cy="333877"/>
          </a:xfrm>
          <a:prstGeom prst="line">
            <a:avLst/>
          </a:prstGeom>
          <a:ln w="12700">
            <a:solidFill>
              <a:srgbClr val="000000"/>
            </a:solidFill>
            <a:tailEnd type="none"/>
          </a:ln>
          <a:effectLst/>
        </p:spPr>
        <p:style>
          <a:lnRef idx="2">
            <a:schemeClr val="accent1"/>
          </a:lnRef>
          <a:fillRef idx="0">
            <a:schemeClr val="accent1"/>
          </a:fillRef>
          <a:effectRef idx="1">
            <a:schemeClr val="accent1"/>
          </a:effectRef>
          <a:fontRef idx="minor">
            <a:schemeClr val="tx1"/>
          </a:fontRef>
        </p:style>
      </p:cxnSp>
      <p:pic>
        <p:nvPicPr>
          <p:cNvPr id="39" name="Kuva 38">
            <a:extLst>
              <a:ext uri="{FF2B5EF4-FFF2-40B4-BE49-F238E27FC236}">
                <a16:creationId xmlns:a16="http://schemas.microsoft.com/office/drawing/2014/main" id="{78C6FD73-5E97-4575-B792-10DA74391DE6}"/>
              </a:ext>
            </a:extLst>
          </p:cNvPr>
          <p:cNvPicPr>
            <a:picLocks noChangeAspect="1"/>
          </p:cNvPicPr>
          <p:nvPr/>
        </p:nvPicPr>
        <p:blipFill>
          <a:blip r:embed="rId3"/>
          <a:stretch>
            <a:fillRect/>
          </a:stretch>
        </p:blipFill>
        <p:spPr>
          <a:xfrm>
            <a:off x="9354159" y="3274806"/>
            <a:ext cx="327477" cy="177423"/>
          </a:xfrm>
          <a:prstGeom prst="rect">
            <a:avLst/>
          </a:prstGeom>
        </p:spPr>
      </p:pic>
      <p:sp>
        <p:nvSpPr>
          <p:cNvPr id="8" name="Ellipsi 7">
            <a:extLst>
              <a:ext uri="{FF2B5EF4-FFF2-40B4-BE49-F238E27FC236}">
                <a16:creationId xmlns:a16="http://schemas.microsoft.com/office/drawing/2014/main" id="{E0C9358C-04A7-4505-BF3B-2AAC1529970D}"/>
              </a:ext>
            </a:extLst>
          </p:cNvPr>
          <p:cNvSpPr/>
          <p:nvPr/>
        </p:nvSpPr>
        <p:spPr>
          <a:xfrm>
            <a:off x="9063875" y="3625850"/>
            <a:ext cx="360000" cy="360000"/>
          </a:xfrm>
          <a:prstGeom prst="ellipse">
            <a:avLst/>
          </a:prstGeom>
          <a:solidFill>
            <a:srgbClr val="FF0000"/>
          </a:solidFill>
          <a:ln w="38100">
            <a:solidFill>
              <a:schemeClr val="bg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err="1">
              <a:ln>
                <a:noFill/>
              </a:ln>
              <a:solidFill>
                <a:srgbClr val="FFFFFF"/>
              </a:solidFill>
              <a:effectLst/>
              <a:uLnTx/>
              <a:uFillTx/>
              <a:latin typeface="Open sans"/>
              <a:ea typeface="Muli" charset="0"/>
              <a:cs typeface="Muli" charset="0"/>
            </a:endParaRPr>
          </a:p>
        </p:txBody>
      </p:sp>
      <p:sp>
        <p:nvSpPr>
          <p:cNvPr id="40" name="Vapaamuotoinen: Muoto 39">
            <a:extLst>
              <a:ext uri="{FF2B5EF4-FFF2-40B4-BE49-F238E27FC236}">
                <a16:creationId xmlns:a16="http://schemas.microsoft.com/office/drawing/2014/main" id="{3B2F1703-346B-4DAE-A873-A7338667794B}"/>
              </a:ext>
            </a:extLst>
          </p:cNvPr>
          <p:cNvSpPr/>
          <p:nvPr/>
        </p:nvSpPr>
        <p:spPr>
          <a:xfrm>
            <a:off x="9309100" y="4419600"/>
            <a:ext cx="1425575" cy="1536700"/>
          </a:xfrm>
          <a:custGeom>
            <a:avLst/>
            <a:gdLst>
              <a:gd name="connsiteX0" fmla="*/ 0 w 1425575"/>
              <a:gd name="connsiteY0" fmla="*/ 0 h 1536700"/>
              <a:gd name="connsiteX1" fmla="*/ 76200 w 1425575"/>
              <a:gd name="connsiteY1" fmla="*/ 107950 h 1536700"/>
              <a:gd name="connsiteX2" fmla="*/ 123825 w 1425575"/>
              <a:gd name="connsiteY2" fmla="*/ 260350 h 1536700"/>
              <a:gd name="connsiteX3" fmla="*/ 247650 w 1425575"/>
              <a:gd name="connsiteY3" fmla="*/ 387350 h 1536700"/>
              <a:gd name="connsiteX4" fmla="*/ 330200 w 1425575"/>
              <a:gd name="connsiteY4" fmla="*/ 450850 h 1536700"/>
              <a:gd name="connsiteX5" fmla="*/ 346075 w 1425575"/>
              <a:gd name="connsiteY5" fmla="*/ 511175 h 1536700"/>
              <a:gd name="connsiteX6" fmla="*/ 330200 w 1425575"/>
              <a:gd name="connsiteY6" fmla="*/ 574675 h 1536700"/>
              <a:gd name="connsiteX7" fmla="*/ 339725 w 1425575"/>
              <a:gd name="connsiteY7" fmla="*/ 654050 h 1536700"/>
              <a:gd name="connsiteX8" fmla="*/ 374650 w 1425575"/>
              <a:gd name="connsiteY8" fmla="*/ 711200 h 1536700"/>
              <a:gd name="connsiteX9" fmla="*/ 476250 w 1425575"/>
              <a:gd name="connsiteY9" fmla="*/ 784225 h 1536700"/>
              <a:gd name="connsiteX10" fmla="*/ 587375 w 1425575"/>
              <a:gd name="connsiteY10" fmla="*/ 901700 h 1536700"/>
              <a:gd name="connsiteX11" fmla="*/ 739775 w 1425575"/>
              <a:gd name="connsiteY11" fmla="*/ 1025525 h 1536700"/>
              <a:gd name="connsiteX12" fmla="*/ 892175 w 1425575"/>
              <a:gd name="connsiteY12" fmla="*/ 1092200 h 1536700"/>
              <a:gd name="connsiteX13" fmla="*/ 1012825 w 1425575"/>
              <a:gd name="connsiteY13" fmla="*/ 1152525 h 1536700"/>
              <a:gd name="connsiteX14" fmla="*/ 1073150 w 1425575"/>
              <a:gd name="connsiteY14" fmla="*/ 1247775 h 1536700"/>
              <a:gd name="connsiteX15" fmla="*/ 1095375 w 1425575"/>
              <a:gd name="connsiteY15" fmla="*/ 1333500 h 1536700"/>
              <a:gd name="connsiteX16" fmla="*/ 1152525 w 1425575"/>
              <a:gd name="connsiteY16" fmla="*/ 1358900 h 1536700"/>
              <a:gd name="connsiteX17" fmla="*/ 1212850 w 1425575"/>
              <a:gd name="connsiteY17" fmla="*/ 1368425 h 1536700"/>
              <a:gd name="connsiteX18" fmla="*/ 1368425 w 1425575"/>
              <a:gd name="connsiteY18" fmla="*/ 1460500 h 1536700"/>
              <a:gd name="connsiteX19" fmla="*/ 1425575 w 1425575"/>
              <a:gd name="connsiteY19" fmla="*/ 1536700 h 153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25575" h="1536700">
                <a:moveTo>
                  <a:pt x="0" y="0"/>
                </a:moveTo>
                <a:cubicBezTo>
                  <a:pt x="27781" y="32279"/>
                  <a:pt x="55563" y="64558"/>
                  <a:pt x="76200" y="107950"/>
                </a:cubicBezTo>
                <a:cubicBezTo>
                  <a:pt x="96838" y="151342"/>
                  <a:pt x="95250" y="213783"/>
                  <a:pt x="123825" y="260350"/>
                </a:cubicBezTo>
                <a:cubicBezTo>
                  <a:pt x="152400" y="306917"/>
                  <a:pt x="213254" y="355600"/>
                  <a:pt x="247650" y="387350"/>
                </a:cubicBezTo>
                <a:cubicBezTo>
                  <a:pt x="282046" y="419100"/>
                  <a:pt x="313796" y="430213"/>
                  <a:pt x="330200" y="450850"/>
                </a:cubicBezTo>
                <a:cubicBezTo>
                  <a:pt x="346604" y="471487"/>
                  <a:pt x="346075" y="490538"/>
                  <a:pt x="346075" y="511175"/>
                </a:cubicBezTo>
                <a:cubicBezTo>
                  <a:pt x="346075" y="531812"/>
                  <a:pt x="331258" y="550863"/>
                  <a:pt x="330200" y="574675"/>
                </a:cubicBezTo>
                <a:cubicBezTo>
                  <a:pt x="329142" y="598487"/>
                  <a:pt x="332317" y="631296"/>
                  <a:pt x="339725" y="654050"/>
                </a:cubicBezTo>
                <a:cubicBezTo>
                  <a:pt x="347133" y="676804"/>
                  <a:pt x="351896" y="689504"/>
                  <a:pt x="374650" y="711200"/>
                </a:cubicBezTo>
                <a:cubicBezTo>
                  <a:pt x="397404" y="732896"/>
                  <a:pt x="440796" y="752475"/>
                  <a:pt x="476250" y="784225"/>
                </a:cubicBezTo>
                <a:cubicBezTo>
                  <a:pt x="511704" y="815975"/>
                  <a:pt x="543454" y="861483"/>
                  <a:pt x="587375" y="901700"/>
                </a:cubicBezTo>
                <a:cubicBezTo>
                  <a:pt x="631296" y="941917"/>
                  <a:pt x="688975" y="993775"/>
                  <a:pt x="739775" y="1025525"/>
                </a:cubicBezTo>
                <a:cubicBezTo>
                  <a:pt x="790575" y="1057275"/>
                  <a:pt x="846667" y="1071033"/>
                  <a:pt x="892175" y="1092200"/>
                </a:cubicBezTo>
                <a:cubicBezTo>
                  <a:pt x="937683" y="1113367"/>
                  <a:pt x="982663" y="1126596"/>
                  <a:pt x="1012825" y="1152525"/>
                </a:cubicBezTo>
                <a:cubicBezTo>
                  <a:pt x="1042987" y="1178454"/>
                  <a:pt x="1059392" y="1217613"/>
                  <a:pt x="1073150" y="1247775"/>
                </a:cubicBezTo>
                <a:cubicBezTo>
                  <a:pt x="1086908" y="1277937"/>
                  <a:pt x="1082146" y="1314979"/>
                  <a:pt x="1095375" y="1333500"/>
                </a:cubicBezTo>
                <a:cubicBezTo>
                  <a:pt x="1108604" y="1352021"/>
                  <a:pt x="1132946" y="1353079"/>
                  <a:pt x="1152525" y="1358900"/>
                </a:cubicBezTo>
                <a:cubicBezTo>
                  <a:pt x="1172104" y="1364721"/>
                  <a:pt x="1176867" y="1351492"/>
                  <a:pt x="1212850" y="1368425"/>
                </a:cubicBezTo>
                <a:cubicBezTo>
                  <a:pt x="1248833" y="1385358"/>
                  <a:pt x="1332971" y="1432454"/>
                  <a:pt x="1368425" y="1460500"/>
                </a:cubicBezTo>
                <a:cubicBezTo>
                  <a:pt x="1403879" y="1488546"/>
                  <a:pt x="1414727" y="1512623"/>
                  <a:pt x="1425575" y="1536700"/>
                </a:cubicBezTo>
              </a:path>
            </a:pathLst>
          </a:custGeom>
          <a:noFill/>
          <a:ln w="28575">
            <a:solidFill>
              <a:srgbClr val="3B70B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1" name="Vapaamuotoinen: Muoto 40">
            <a:extLst>
              <a:ext uri="{FF2B5EF4-FFF2-40B4-BE49-F238E27FC236}">
                <a16:creationId xmlns:a16="http://schemas.microsoft.com/office/drawing/2014/main" id="{CCDA504A-9DC8-4F5C-8BC6-A4EB304E0A73}"/>
              </a:ext>
            </a:extLst>
          </p:cNvPr>
          <p:cNvSpPr/>
          <p:nvPr/>
        </p:nvSpPr>
        <p:spPr>
          <a:xfrm>
            <a:off x="10729913" y="5948363"/>
            <a:ext cx="628650" cy="900112"/>
          </a:xfrm>
          <a:custGeom>
            <a:avLst/>
            <a:gdLst>
              <a:gd name="connsiteX0" fmla="*/ 0 w 628650"/>
              <a:gd name="connsiteY0" fmla="*/ 0 h 900112"/>
              <a:gd name="connsiteX1" fmla="*/ 266700 w 628650"/>
              <a:gd name="connsiteY1" fmla="*/ 366712 h 900112"/>
              <a:gd name="connsiteX2" fmla="*/ 409575 w 628650"/>
              <a:gd name="connsiteY2" fmla="*/ 557212 h 900112"/>
              <a:gd name="connsiteX3" fmla="*/ 628650 w 628650"/>
              <a:gd name="connsiteY3" fmla="*/ 900112 h 900112"/>
            </a:gdLst>
            <a:ahLst/>
            <a:cxnLst>
              <a:cxn ang="0">
                <a:pos x="connsiteX0" y="connsiteY0"/>
              </a:cxn>
              <a:cxn ang="0">
                <a:pos x="connsiteX1" y="connsiteY1"/>
              </a:cxn>
              <a:cxn ang="0">
                <a:pos x="connsiteX2" y="connsiteY2"/>
              </a:cxn>
              <a:cxn ang="0">
                <a:pos x="connsiteX3" y="connsiteY3"/>
              </a:cxn>
            </a:cxnLst>
            <a:rect l="l" t="t" r="r" b="b"/>
            <a:pathLst>
              <a:path w="628650" h="900112">
                <a:moveTo>
                  <a:pt x="0" y="0"/>
                </a:moveTo>
                <a:lnTo>
                  <a:pt x="266700" y="366712"/>
                </a:lnTo>
                <a:cubicBezTo>
                  <a:pt x="334962" y="459581"/>
                  <a:pt x="349250" y="468312"/>
                  <a:pt x="409575" y="557212"/>
                </a:cubicBezTo>
                <a:cubicBezTo>
                  <a:pt x="469900" y="646112"/>
                  <a:pt x="549275" y="773112"/>
                  <a:pt x="628650" y="900112"/>
                </a:cubicBezTo>
              </a:path>
            </a:pathLst>
          </a:cu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Open sans"/>
              <a:ea typeface="+mn-ea"/>
              <a:cs typeface="+mn-cs"/>
            </a:endParaRPr>
          </a:p>
        </p:txBody>
      </p:sp>
      <p:graphicFrame>
        <p:nvGraphicFramePr>
          <p:cNvPr id="48" name="Taulukko 10">
            <a:extLst>
              <a:ext uri="{FF2B5EF4-FFF2-40B4-BE49-F238E27FC236}">
                <a16:creationId xmlns:a16="http://schemas.microsoft.com/office/drawing/2014/main" id="{35BEE384-70DE-4BED-907E-3F83B12FA33F}"/>
              </a:ext>
            </a:extLst>
          </p:cNvPr>
          <p:cNvGraphicFramePr>
            <a:graphicFrameLocks noGrp="1"/>
          </p:cNvGraphicFramePr>
          <p:nvPr/>
        </p:nvGraphicFramePr>
        <p:xfrm>
          <a:off x="10109310" y="47016"/>
          <a:ext cx="2043137" cy="1417320"/>
        </p:xfrm>
        <a:graphic>
          <a:graphicData uri="http://schemas.openxmlformats.org/drawingml/2006/table">
            <a:tbl>
              <a:tblPr firstRow="1" bandRow="1">
                <a:tableStyleId>{5940675A-B579-460E-94D1-54222C63F5DA}</a:tableStyleId>
              </a:tblPr>
              <a:tblGrid>
                <a:gridCol w="291682">
                  <a:extLst>
                    <a:ext uri="{9D8B030D-6E8A-4147-A177-3AD203B41FA5}">
                      <a16:colId xmlns:a16="http://schemas.microsoft.com/office/drawing/2014/main" val="2606222489"/>
                    </a:ext>
                  </a:extLst>
                </a:gridCol>
                <a:gridCol w="1751455">
                  <a:extLst>
                    <a:ext uri="{9D8B030D-6E8A-4147-A177-3AD203B41FA5}">
                      <a16:colId xmlns:a16="http://schemas.microsoft.com/office/drawing/2014/main" val="2111472638"/>
                    </a:ext>
                  </a:extLst>
                </a:gridCol>
              </a:tblGrid>
              <a:tr h="144000">
                <a:tc gridSpan="2">
                  <a:txBody>
                    <a:bodyPr/>
                    <a:lstStyle/>
                    <a:p>
                      <a:pPr algn="ctr"/>
                      <a:r>
                        <a:rPr lang="fi-FI" sz="900" b="1"/>
                        <a:t>Selite</a:t>
                      </a:r>
                    </a:p>
                  </a:txBody>
                  <a:tcPr anchor="ctr">
                    <a:solidFill>
                      <a:schemeClr val="bg1"/>
                    </a:solidFill>
                  </a:tcPr>
                </a:tc>
                <a:tc hMerge="1">
                  <a:txBody>
                    <a:bodyPr/>
                    <a:lstStyle/>
                    <a:p>
                      <a:endParaRPr lang="fi-FI" sz="800"/>
                    </a:p>
                  </a:txBody>
                  <a:tcPr/>
                </a:tc>
                <a:extLst>
                  <a:ext uri="{0D108BD9-81ED-4DB2-BD59-A6C34878D82A}">
                    <a16:rowId xmlns:a16="http://schemas.microsoft.com/office/drawing/2014/main" val="716935317"/>
                  </a:ext>
                </a:extLst>
              </a:tr>
              <a:tr h="144000">
                <a:tc>
                  <a:txBody>
                    <a:bodyPr/>
                    <a:lstStyle/>
                    <a:p>
                      <a:pPr algn="ctr"/>
                      <a:endParaRPr lang="fi-FI" sz="500" b="1"/>
                    </a:p>
                  </a:txBody>
                  <a:tcPr anchor="ctr">
                    <a:solidFill>
                      <a:schemeClr val="accent6"/>
                    </a:solidFill>
                  </a:tcPr>
                </a:tc>
                <a:tc>
                  <a:txBody>
                    <a:bodyPr/>
                    <a:lstStyle/>
                    <a:p>
                      <a:pPr algn="l"/>
                      <a:r>
                        <a:rPr lang="fi-FI" sz="700" b="0"/>
                        <a:t>Nykyinen tieverkko</a:t>
                      </a:r>
                    </a:p>
                  </a:txBody>
                  <a:tcPr anchor="ctr">
                    <a:solidFill>
                      <a:schemeClr val="bg1"/>
                    </a:solidFill>
                  </a:tcPr>
                </a:tc>
                <a:extLst>
                  <a:ext uri="{0D108BD9-81ED-4DB2-BD59-A6C34878D82A}">
                    <a16:rowId xmlns:a16="http://schemas.microsoft.com/office/drawing/2014/main" val="1636898509"/>
                  </a:ext>
                </a:extLst>
              </a:tr>
              <a:tr h="144000">
                <a:tc>
                  <a:txBody>
                    <a:bodyPr/>
                    <a:lstStyle/>
                    <a:p>
                      <a:pPr algn="ctr"/>
                      <a:endParaRPr lang="fi-FI" sz="500" b="1"/>
                    </a:p>
                  </a:txBody>
                  <a:tcPr anchor="ctr">
                    <a:solidFill>
                      <a:srgbClr val="F7A316"/>
                    </a:solidFill>
                  </a:tcPr>
                </a:tc>
                <a:tc>
                  <a:txBody>
                    <a:bodyPr/>
                    <a:lstStyle/>
                    <a:p>
                      <a:pPr algn="l"/>
                      <a:r>
                        <a:rPr lang="fi-FI" sz="700" b="0"/>
                        <a:t>Parannettava valtatieyhteys</a:t>
                      </a:r>
                    </a:p>
                  </a:txBody>
                  <a:tcPr anchor="ctr">
                    <a:solidFill>
                      <a:schemeClr val="bg1"/>
                    </a:solidFill>
                  </a:tcPr>
                </a:tc>
                <a:extLst>
                  <a:ext uri="{0D108BD9-81ED-4DB2-BD59-A6C34878D82A}">
                    <a16:rowId xmlns:a16="http://schemas.microsoft.com/office/drawing/2014/main" val="4195312152"/>
                  </a:ext>
                </a:extLst>
              </a:tr>
              <a:tr h="144000">
                <a:tc>
                  <a:txBody>
                    <a:bodyPr/>
                    <a:lstStyle/>
                    <a:p>
                      <a:pPr algn="ctr"/>
                      <a:endParaRPr lang="fi-FI" sz="500" b="1"/>
                    </a:p>
                  </a:txBody>
                  <a:tcPr anchor="ctr">
                    <a:solidFill>
                      <a:srgbClr val="FF0000"/>
                    </a:solidFill>
                  </a:tcPr>
                </a:tc>
                <a:tc>
                  <a:txBody>
                    <a:bodyPr/>
                    <a:lstStyle/>
                    <a:p>
                      <a:pPr algn="l"/>
                      <a:r>
                        <a:rPr lang="fi-FI" sz="700" b="0"/>
                        <a:t>Uudet tieyhteydet</a:t>
                      </a:r>
                    </a:p>
                  </a:txBody>
                  <a:tcPr anchor="ctr">
                    <a:solidFill>
                      <a:schemeClr val="bg1"/>
                    </a:solidFill>
                  </a:tcPr>
                </a:tc>
                <a:extLst>
                  <a:ext uri="{0D108BD9-81ED-4DB2-BD59-A6C34878D82A}">
                    <a16:rowId xmlns:a16="http://schemas.microsoft.com/office/drawing/2014/main" val="3395201168"/>
                  </a:ext>
                </a:extLst>
              </a:tr>
              <a:tr h="144000">
                <a:tc>
                  <a:txBody>
                    <a:bodyPr/>
                    <a:lstStyle/>
                    <a:p>
                      <a:pPr algn="ctr"/>
                      <a:endParaRPr lang="fi-FI" sz="500" b="1"/>
                    </a:p>
                  </a:txBody>
                  <a:tcPr anchor="ctr">
                    <a:solidFill>
                      <a:schemeClr val="bg1"/>
                    </a:solidFill>
                  </a:tcPr>
                </a:tc>
                <a:tc>
                  <a:txBody>
                    <a:bodyPr/>
                    <a:lstStyle/>
                    <a:p>
                      <a:pPr algn="l"/>
                      <a:r>
                        <a:rPr lang="fi-FI" sz="700" b="0"/>
                        <a:t>Jalankulun ja pyöräilyn väylä</a:t>
                      </a:r>
                    </a:p>
                  </a:txBody>
                  <a:tcPr anchor="ctr">
                    <a:solidFill>
                      <a:schemeClr val="bg1"/>
                    </a:solidFill>
                  </a:tcPr>
                </a:tc>
                <a:extLst>
                  <a:ext uri="{0D108BD9-81ED-4DB2-BD59-A6C34878D82A}">
                    <a16:rowId xmlns:a16="http://schemas.microsoft.com/office/drawing/2014/main" val="1805371267"/>
                  </a:ext>
                </a:extLst>
              </a:tr>
              <a:tr h="144000">
                <a:tc>
                  <a:txBody>
                    <a:bodyPr/>
                    <a:lstStyle/>
                    <a:p>
                      <a:pPr algn="ctr"/>
                      <a:endParaRPr lang="fi-FI" sz="500" b="1"/>
                    </a:p>
                  </a:txBody>
                  <a:tcPr anchor="ctr">
                    <a:solidFill>
                      <a:schemeClr val="bg1"/>
                    </a:solidFill>
                  </a:tcPr>
                </a:tc>
                <a:tc>
                  <a:txBody>
                    <a:bodyPr/>
                    <a:lstStyle/>
                    <a:p>
                      <a:pPr algn="l"/>
                      <a:r>
                        <a:rPr lang="fi-FI" sz="700" b="0"/>
                        <a:t>Junarata</a:t>
                      </a:r>
                    </a:p>
                  </a:txBody>
                  <a:tcPr anchor="ctr">
                    <a:solidFill>
                      <a:schemeClr val="bg1"/>
                    </a:solidFill>
                  </a:tcPr>
                </a:tc>
                <a:extLst>
                  <a:ext uri="{0D108BD9-81ED-4DB2-BD59-A6C34878D82A}">
                    <a16:rowId xmlns:a16="http://schemas.microsoft.com/office/drawing/2014/main" val="3284774729"/>
                  </a:ext>
                </a:extLst>
              </a:tr>
              <a:tr h="144000">
                <a:tc>
                  <a:txBody>
                    <a:bodyPr/>
                    <a:lstStyle/>
                    <a:p>
                      <a:pPr algn="ctr"/>
                      <a:endParaRPr lang="fi-FI" sz="500" b="1"/>
                    </a:p>
                  </a:txBody>
                  <a:tcPr anchor="ctr">
                    <a:solidFill>
                      <a:schemeClr val="bg1"/>
                    </a:solidFill>
                  </a:tcPr>
                </a:tc>
                <a:tc>
                  <a:txBody>
                    <a:bodyPr/>
                    <a:lstStyle/>
                    <a:p>
                      <a:pPr algn="l"/>
                      <a:r>
                        <a:rPr lang="fi-FI" sz="700" b="0"/>
                        <a:t>Katkaistu liittymä</a:t>
                      </a:r>
                    </a:p>
                  </a:txBody>
                  <a:tcPr anchor="ctr">
                    <a:solidFill>
                      <a:schemeClr val="bg1"/>
                    </a:solidFill>
                  </a:tcPr>
                </a:tc>
                <a:extLst>
                  <a:ext uri="{0D108BD9-81ED-4DB2-BD59-A6C34878D82A}">
                    <a16:rowId xmlns:a16="http://schemas.microsoft.com/office/drawing/2014/main" val="1742943760"/>
                  </a:ext>
                </a:extLst>
              </a:tr>
            </a:tbl>
          </a:graphicData>
        </a:graphic>
      </p:graphicFrame>
      <p:sp>
        <p:nvSpPr>
          <p:cNvPr id="49" name="Kertomerkki 48">
            <a:extLst>
              <a:ext uri="{FF2B5EF4-FFF2-40B4-BE49-F238E27FC236}">
                <a16:creationId xmlns:a16="http://schemas.microsoft.com/office/drawing/2014/main" id="{A75F0328-D12D-47F4-8CBA-F0D5C1279A47}"/>
              </a:ext>
            </a:extLst>
          </p:cNvPr>
          <p:cNvSpPr/>
          <p:nvPr/>
        </p:nvSpPr>
        <p:spPr>
          <a:xfrm>
            <a:off x="10192949" y="1291502"/>
            <a:ext cx="144000" cy="144000"/>
          </a:xfrm>
          <a:prstGeom prst="mathMultiply">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err="1">
              <a:ln>
                <a:noFill/>
              </a:ln>
              <a:solidFill>
                <a:srgbClr val="FFFFFF"/>
              </a:solidFill>
              <a:effectLst/>
              <a:uLnTx/>
              <a:uFillTx/>
              <a:latin typeface="Open sans"/>
              <a:ea typeface="Muli" charset="0"/>
              <a:cs typeface="Muli" charset="0"/>
            </a:endParaRPr>
          </a:p>
        </p:txBody>
      </p:sp>
      <p:cxnSp>
        <p:nvCxnSpPr>
          <p:cNvPr id="50" name="Suora yhdysviiva 49">
            <a:extLst>
              <a:ext uri="{FF2B5EF4-FFF2-40B4-BE49-F238E27FC236}">
                <a16:creationId xmlns:a16="http://schemas.microsoft.com/office/drawing/2014/main" id="{1513DC17-3A38-4980-90FE-A818F0710DBA}"/>
              </a:ext>
            </a:extLst>
          </p:cNvPr>
          <p:cNvCxnSpPr>
            <a:cxnSpLocks/>
          </p:cNvCxnSpPr>
          <p:nvPr/>
        </p:nvCxnSpPr>
        <p:spPr>
          <a:xfrm>
            <a:off x="10141474" y="965951"/>
            <a:ext cx="250085" cy="0"/>
          </a:xfrm>
          <a:prstGeom prst="line">
            <a:avLst/>
          </a:prstGeom>
          <a:ln w="57150">
            <a:solidFill>
              <a:srgbClr val="7030A0"/>
            </a:solidFill>
            <a:prstDash val="sysDot"/>
            <a:tailEnd type="none"/>
          </a:ln>
          <a:effectLst/>
        </p:spPr>
        <p:style>
          <a:lnRef idx="2">
            <a:schemeClr val="accent1"/>
          </a:lnRef>
          <a:fillRef idx="0">
            <a:schemeClr val="accent1"/>
          </a:fillRef>
          <a:effectRef idx="1">
            <a:schemeClr val="accent1"/>
          </a:effectRef>
          <a:fontRef idx="minor">
            <a:schemeClr val="tx1"/>
          </a:fontRef>
        </p:style>
      </p:cxnSp>
      <p:cxnSp>
        <p:nvCxnSpPr>
          <p:cNvPr id="51" name="Suora yhdysviiva 50">
            <a:extLst>
              <a:ext uri="{FF2B5EF4-FFF2-40B4-BE49-F238E27FC236}">
                <a16:creationId xmlns:a16="http://schemas.microsoft.com/office/drawing/2014/main" id="{9D109D50-523F-4C99-9A1A-EBB43D4A3BF5}"/>
              </a:ext>
            </a:extLst>
          </p:cNvPr>
          <p:cNvCxnSpPr>
            <a:cxnSpLocks/>
          </p:cNvCxnSpPr>
          <p:nvPr/>
        </p:nvCxnSpPr>
        <p:spPr>
          <a:xfrm>
            <a:off x="10141474" y="1164436"/>
            <a:ext cx="382807" cy="0"/>
          </a:xfrm>
          <a:prstGeom prst="line">
            <a:avLst/>
          </a:prstGeom>
          <a:ln w="57150">
            <a:solidFill>
              <a:schemeClr val="accent3"/>
            </a:solidFill>
            <a:prstDash val="dash"/>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97587847"/>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äivämäärän paikkamerkki 3">
            <a:extLst>
              <a:ext uri="{FF2B5EF4-FFF2-40B4-BE49-F238E27FC236}">
                <a16:creationId xmlns:a16="http://schemas.microsoft.com/office/drawing/2014/main" id="{3858AEF8-405F-40C8-8BAA-8070F29D54F8}"/>
              </a:ext>
            </a:extLst>
          </p:cNvPr>
          <p:cNvSpPr>
            <a:spLocks noGrp="1"/>
          </p:cNvSpPr>
          <p:nvPr>
            <p:ph type="dt" sz="half" idx="2"/>
          </p:nvPr>
        </p:nvSpPr>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fld id="{649D4A59-9075-664D-AD36-DF840CEB6D03}" type="datetime1">
              <a:rPr kumimoji="0" lang="fi-FI" sz="900" b="0" i="0" u="none" strike="noStrike" kern="1200" cap="none" spc="0" normalizeH="0" baseline="0" noProof="0" smtClean="0">
                <a:ln>
                  <a:noFill/>
                </a:ln>
                <a:solidFill>
                  <a:srgbClr val="505050"/>
                </a:solidFill>
                <a:effectLst/>
                <a:uLnTx/>
                <a:uFillTx/>
                <a:latin typeface="Open Sans" panose="020B0606030504020204" pitchFamily="34" charset="0"/>
                <a:ea typeface="ＭＳ Ｐゴシック" pitchFamily="34" charset="-128"/>
                <a:cs typeface="+mn-cs"/>
              </a:rPr>
              <a:pPr marL="0" marR="0" lvl="0" indent="0" algn="l" defTabSz="609585" rtl="0" eaLnBrk="1" fontAlgn="base" latinLnBrk="0" hangingPunct="1">
                <a:lnSpc>
                  <a:spcPct val="100000"/>
                </a:lnSpc>
                <a:spcBef>
                  <a:spcPct val="0"/>
                </a:spcBef>
                <a:spcAft>
                  <a:spcPct val="0"/>
                </a:spcAft>
                <a:buClrTx/>
                <a:buSzTx/>
                <a:buFontTx/>
                <a:buNone/>
                <a:tabLst/>
                <a:defRPr/>
              </a:pPr>
              <a:t>29.4.2022</a:t>
            </a:fld>
            <a:endParaRPr kumimoji="0" lang="fi-FI" sz="900" b="0" i="0" u="none" strike="noStrike" kern="1200" cap="none" spc="0" normalizeH="0" baseline="0" noProof="0">
              <a:ln>
                <a:noFill/>
              </a:ln>
              <a:solidFill>
                <a:srgbClr val="505050"/>
              </a:solidFill>
              <a:effectLst/>
              <a:uLnTx/>
              <a:uFillTx/>
              <a:latin typeface="Open Sans" panose="020B0606030504020204" pitchFamily="34" charset="0"/>
              <a:ea typeface="ＭＳ Ｐゴシック" pitchFamily="34" charset="-128"/>
              <a:cs typeface="+mn-cs"/>
            </a:endParaRPr>
          </a:p>
        </p:txBody>
      </p:sp>
      <p:sp>
        <p:nvSpPr>
          <p:cNvPr id="5" name="Alatunnisteen paikkamerkki 4">
            <a:extLst>
              <a:ext uri="{FF2B5EF4-FFF2-40B4-BE49-F238E27FC236}">
                <a16:creationId xmlns:a16="http://schemas.microsoft.com/office/drawing/2014/main" id="{9DEAC443-F115-43F1-B538-F15181877D55}"/>
              </a:ext>
            </a:extLst>
          </p:cNvPr>
          <p:cNvSpPr>
            <a:spLocks noGrp="1"/>
          </p:cNvSpPr>
          <p:nvPr>
            <p:ph type="ftr" sz="quarter" idx="3"/>
          </p:nvPr>
        </p:nvSpPr>
        <p:spPr/>
        <p:txBody>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900" b="0" i="0" u="none" strike="noStrike" kern="1200" cap="none" spc="0" normalizeH="0" baseline="0" noProof="0">
              <a:ln>
                <a:noFill/>
              </a:ln>
              <a:solidFill>
                <a:srgbClr val="282828"/>
              </a:solidFill>
              <a:effectLst/>
              <a:uLnTx/>
              <a:uFillTx/>
              <a:latin typeface="Open Sans" panose="020B0606030504020204" pitchFamily="34" charset="0"/>
              <a:ea typeface="ＭＳ Ｐゴシック" pitchFamily="34" charset="-128"/>
              <a:cs typeface="+mn-cs"/>
            </a:endParaRPr>
          </a:p>
        </p:txBody>
      </p:sp>
      <p:graphicFrame>
        <p:nvGraphicFramePr>
          <p:cNvPr id="6" name="Taulukko 6">
            <a:extLst>
              <a:ext uri="{FF2B5EF4-FFF2-40B4-BE49-F238E27FC236}">
                <a16:creationId xmlns:a16="http://schemas.microsoft.com/office/drawing/2014/main" id="{77A30018-7F08-4438-8B69-E9B31B26B445}"/>
              </a:ext>
            </a:extLst>
          </p:cNvPr>
          <p:cNvGraphicFramePr>
            <a:graphicFrameLocks noGrp="1"/>
          </p:cNvGraphicFramePr>
          <p:nvPr>
            <p:extLst>
              <p:ext uri="{D42A27DB-BD31-4B8C-83A1-F6EECF244321}">
                <p14:modId xmlns:p14="http://schemas.microsoft.com/office/powerpoint/2010/main" val="3007244052"/>
              </p:ext>
            </p:extLst>
          </p:nvPr>
        </p:nvGraphicFramePr>
        <p:xfrm>
          <a:off x="114301" y="1184486"/>
          <a:ext cx="6623610" cy="4896000"/>
        </p:xfrm>
        <a:graphic>
          <a:graphicData uri="http://schemas.openxmlformats.org/drawingml/2006/table">
            <a:tbl>
              <a:tblPr firstRow="1" bandRow="1">
                <a:tableStyleId>{5940675A-B579-460E-94D1-54222C63F5DA}</a:tableStyleId>
              </a:tblPr>
              <a:tblGrid>
                <a:gridCol w="1226819">
                  <a:extLst>
                    <a:ext uri="{9D8B030D-6E8A-4147-A177-3AD203B41FA5}">
                      <a16:colId xmlns:a16="http://schemas.microsoft.com/office/drawing/2014/main" val="1535771074"/>
                    </a:ext>
                  </a:extLst>
                </a:gridCol>
                <a:gridCol w="5396791">
                  <a:extLst>
                    <a:ext uri="{9D8B030D-6E8A-4147-A177-3AD203B41FA5}">
                      <a16:colId xmlns:a16="http://schemas.microsoft.com/office/drawing/2014/main" val="2209669313"/>
                    </a:ext>
                  </a:extLst>
                </a:gridCol>
              </a:tblGrid>
              <a:tr h="363110">
                <a:tc>
                  <a:txBody>
                    <a:bodyPr/>
                    <a:lstStyle/>
                    <a:p>
                      <a:pPr algn="ctr"/>
                      <a:r>
                        <a:rPr lang="fi-FI" sz="900" b="1" kern="1200">
                          <a:solidFill>
                            <a:schemeClr val="tx1"/>
                          </a:solidFill>
                          <a:latin typeface="+mn-lt"/>
                          <a:ea typeface="+mn-ea"/>
                          <a:cs typeface="+mn-cs"/>
                        </a:rPr>
                        <a:t>Vaikutusalue</a:t>
                      </a:r>
                    </a:p>
                  </a:txBody>
                  <a:tcPr anchor="ctr"/>
                </a:tc>
                <a:tc>
                  <a:txBody>
                    <a:bodyPr/>
                    <a:lstStyle/>
                    <a:p>
                      <a:pPr algn="ctr"/>
                      <a:r>
                        <a:rPr lang="fi-FI" sz="900" b="1"/>
                        <a:t>Suunnitelmaratkaisu</a:t>
                      </a:r>
                    </a:p>
                  </a:txBody>
                  <a:tcPr anchor="ctr"/>
                </a:tc>
                <a:extLst>
                  <a:ext uri="{0D108BD9-81ED-4DB2-BD59-A6C34878D82A}">
                    <a16:rowId xmlns:a16="http://schemas.microsoft.com/office/drawing/2014/main" val="4174998791"/>
                  </a:ext>
                </a:extLst>
              </a:tr>
              <a:tr h="1179853">
                <a:tc>
                  <a:txBody>
                    <a:bodyPr/>
                    <a:lstStyle/>
                    <a:p>
                      <a:pPr algn="ctr"/>
                      <a:r>
                        <a:rPr lang="fi-FI" sz="900" b="1"/>
                        <a:t>Liikenteelliset </a:t>
                      </a:r>
                    </a:p>
                    <a:p>
                      <a:pPr algn="ctr"/>
                      <a:r>
                        <a:rPr lang="fi-FI" sz="900" b="1"/>
                        <a:t>vaikutukset</a:t>
                      </a:r>
                    </a:p>
                  </a:txBody>
                  <a:tcPr anchor="ct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Parantaa liikenneturvallisuutta &amp; valtatien liikenteen sujuvuutta</a:t>
                      </a:r>
                    </a:p>
                    <a:p>
                      <a:pPr marL="171450" indent="-171450" algn="l">
                        <a:buFont typeface="Arial" panose="020B0604020202020204" pitchFamily="34" charset="0"/>
                        <a:buChar char="•"/>
                      </a:pPr>
                      <a:r>
                        <a:rPr lang="fi-FI" sz="800">
                          <a:solidFill>
                            <a:schemeClr val="accent3"/>
                          </a:solidFill>
                        </a:rPr>
                        <a:t>Valtatielle liittyminen eri tasossa</a:t>
                      </a:r>
                    </a:p>
                    <a:p>
                      <a:pPr marL="171450" indent="-171450" algn="l">
                        <a:buFont typeface="Arial" panose="020B0604020202020204" pitchFamily="34" charset="0"/>
                        <a:buChar char="•"/>
                      </a:pPr>
                      <a:r>
                        <a:rPr lang="fi-FI" sz="800">
                          <a:solidFill>
                            <a:schemeClr val="accent3"/>
                          </a:solidFill>
                        </a:rPr>
                        <a:t>Hyvät yhteydet camping-alueelle ja huoltoasemalle</a:t>
                      </a:r>
                    </a:p>
                    <a:p>
                      <a:pPr marL="171450" indent="-171450" algn="l">
                        <a:buFont typeface="Arial" panose="020B0604020202020204" pitchFamily="34" charset="0"/>
                        <a:buChar char="•"/>
                      </a:pPr>
                      <a:r>
                        <a:rPr lang="fi-FI" sz="800">
                          <a:solidFill>
                            <a:schemeClr val="accent3"/>
                          </a:solidFill>
                        </a:rPr>
                        <a:t>Yhteystarve mahdollista valtatien 4 itäpuolelle</a:t>
                      </a:r>
                    </a:p>
                  </a:txBody>
                  <a:tcPr>
                    <a:solidFill>
                      <a:srgbClr val="72D16E"/>
                    </a:solidFill>
                  </a:tcPr>
                </a:tc>
                <a:extLst>
                  <a:ext uri="{0D108BD9-81ED-4DB2-BD59-A6C34878D82A}">
                    <a16:rowId xmlns:a16="http://schemas.microsoft.com/office/drawing/2014/main" val="599775101"/>
                  </a:ext>
                </a:extLst>
              </a:tr>
              <a:tr h="1117679">
                <a:tc>
                  <a:txBody>
                    <a:bodyPr/>
                    <a:lstStyle/>
                    <a:p>
                      <a:pPr algn="ctr"/>
                      <a:r>
                        <a:rPr lang="fi-FI" sz="900" b="1"/>
                        <a:t>Maankäytölliset </a:t>
                      </a:r>
                    </a:p>
                    <a:p>
                      <a:pPr algn="ctr"/>
                      <a:r>
                        <a:rPr lang="fi-FI" sz="900" b="1"/>
                        <a:t>vaikutukset</a:t>
                      </a:r>
                    </a:p>
                  </a:txBody>
                  <a:tcPr anchor="ct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Maakuntakaavaan merkitty Pohjois-Pohjanmaan Rantatien linjaus, joka jo nykyisellään risteää useassa kohtaa valtatien kanssa. Suunnittelumääräyksenä tietä koskien mm. </a:t>
                      </a:r>
                      <a:r>
                        <a:rPr lang="fi-FI" sz="800" i="1">
                          <a:solidFill>
                            <a:schemeClr val="accent3"/>
                          </a:solidFill>
                        </a:rPr>
                        <a:t>Alueiden käytön suunnittelussa tulee edistää kulttuuriympäristön valtakunnallisten ja maakunnallisten arvojen säilymistä</a:t>
                      </a:r>
                      <a:r>
                        <a:rPr lang="fi-FI" sz="800" i="0">
                          <a:solidFill>
                            <a:schemeClr val="accent3"/>
                          </a:solidFill>
                        </a:rPr>
                        <a:t>. Vaikutusta suunnitteluu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Mahdollistaa asuin- ja vapaa-ajan kiinteistöalueiden laajenemise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Eritasoliittymäalue sijoittuu rakentamattomaan ympäristöön.</a:t>
                      </a:r>
                    </a:p>
                  </a:txBody>
                  <a:tcPr>
                    <a:solidFill>
                      <a:schemeClr val="bg2">
                        <a:lumMod val="60000"/>
                        <a:lumOff val="40000"/>
                      </a:schemeClr>
                    </a:solidFill>
                  </a:tcPr>
                </a:tc>
                <a:extLst>
                  <a:ext uri="{0D108BD9-81ED-4DB2-BD59-A6C34878D82A}">
                    <a16:rowId xmlns:a16="http://schemas.microsoft.com/office/drawing/2014/main" val="4264748030"/>
                  </a:ext>
                </a:extLst>
              </a:tr>
              <a:tr h="1117679">
                <a:tc>
                  <a:txBody>
                    <a:bodyPr/>
                    <a:lstStyle/>
                    <a:p>
                      <a:pPr algn="ctr"/>
                      <a:r>
                        <a:rPr lang="fi-FI" sz="900" b="1"/>
                        <a:t>Ympäristölliset </a:t>
                      </a:r>
                    </a:p>
                    <a:p>
                      <a:pPr algn="ctr"/>
                      <a:r>
                        <a:rPr lang="fi-FI" sz="900" b="1"/>
                        <a:t>vaikutukset</a:t>
                      </a:r>
                    </a:p>
                  </a:txBody>
                  <a:tcPr anchor="ct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fi-FI" sz="800">
                          <a:solidFill>
                            <a:schemeClr val="accent3"/>
                          </a:solidFill>
                        </a:rPr>
                        <a:t>Melualue laajenee nykyisestä ennustetun liikennemäärän kasvun ja uusien tieyhteyksien seurauksena. Hankkeella ei ole merkittää vaikutusta ajoneuvoliikenteen kokonaismäärään.  Meluntorjuntaratkaisuilla meluhaittoja voidaan vähentää asuin- ja vapaa-ajan kiinteistöillä. Tarvittavat meluntorjuntaratkaisut tulee selvittää jatkosuunnittelussa.</a:t>
                      </a:r>
                    </a:p>
                  </a:txBody>
                  <a:tcPr>
                    <a:solidFill>
                      <a:schemeClr val="bg2">
                        <a:lumMod val="60000"/>
                        <a:lumOff val="40000"/>
                      </a:schemeClr>
                    </a:solidFill>
                  </a:tcPr>
                </a:tc>
                <a:extLst>
                  <a:ext uri="{0D108BD9-81ED-4DB2-BD59-A6C34878D82A}">
                    <a16:rowId xmlns:a16="http://schemas.microsoft.com/office/drawing/2014/main" val="2153727017"/>
                  </a:ext>
                </a:extLst>
              </a:tr>
              <a:tr h="1117679">
                <a:tc>
                  <a:txBody>
                    <a:bodyPr/>
                    <a:lstStyle/>
                    <a:p>
                      <a:pPr algn="ctr"/>
                      <a:r>
                        <a:rPr lang="fi-FI" sz="900" b="1"/>
                        <a:t>Toteutettavuus</a:t>
                      </a:r>
                    </a:p>
                  </a:txBody>
                  <a:tcPr anchor="ctr"/>
                </a:tc>
                <a:tc>
                  <a:txBody>
                    <a:bodyPr/>
                    <a:lstStyle/>
                    <a:p>
                      <a:pPr marL="171450" indent="-171450" algn="l">
                        <a:buFont typeface="Arial" panose="020B0604020202020204" pitchFamily="34" charset="0"/>
                        <a:buChar char="•"/>
                      </a:pPr>
                      <a:r>
                        <a:rPr lang="fi-FI" sz="800">
                          <a:solidFill>
                            <a:schemeClr val="accent3"/>
                          </a:solidFill>
                        </a:rPr>
                        <a:t>Maaperäolosuhteen ovat hyvät.</a:t>
                      </a:r>
                    </a:p>
                    <a:p>
                      <a:pPr marL="171450" indent="-171450" algn="l">
                        <a:buFont typeface="Arial" panose="020B0604020202020204" pitchFamily="34" charset="0"/>
                        <a:buChar char="•"/>
                      </a:pPr>
                      <a:r>
                        <a:rPr lang="fi-FI" sz="800">
                          <a:solidFill>
                            <a:schemeClr val="accent3"/>
                          </a:solidFill>
                        </a:rPr>
                        <a:t>Avokalliota osittain liittymäalueella.</a:t>
                      </a:r>
                    </a:p>
                  </a:txBody>
                  <a:tcPr>
                    <a:solidFill>
                      <a:srgbClr val="E1E2E4"/>
                    </a:solidFill>
                  </a:tcPr>
                </a:tc>
                <a:extLst>
                  <a:ext uri="{0D108BD9-81ED-4DB2-BD59-A6C34878D82A}">
                    <a16:rowId xmlns:a16="http://schemas.microsoft.com/office/drawing/2014/main" val="2050728536"/>
                  </a:ext>
                </a:extLst>
              </a:tr>
            </a:tbl>
          </a:graphicData>
        </a:graphic>
      </p:graphicFrame>
      <p:sp>
        <p:nvSpPr>
          <p:cNvPr id="8" name="Otsikko 3">
            <a:extLst>
              <a:ext uri="{FF2B5EF4-FFF2-40B4-BE49-F238E27FC236}">
                <a16:creationId xmlns:a16="http://schemas.microsoft.com/office/drawing/2014/main" id="{06BC4675-54BA-4082-9C45-469219D55410}"/>
              </a:ext>
            </a:extLst>
          </p:cNvPr>
          <p:cNvSpPr txBox="1">
            <a:spLocks/>
          </p:cNvSpPr>
          <p:nvPr/>
        </p:nvSpPr>
        <p:spPr>
          <a:xfrm>
            <a:off x="600900" y="472515"/>
            <a:ext cx="5492808" cy="569863"/>
          </a:xfrm>
          <a:prstGeom prst="rect">
            <a:avLst/>
          </a:prstGeom>
        </p:spPr>
        <p:txBody>
          <a:bodyPr/>
          <a:lstStyle>
            <a:lvl1pPr algn="l" defTabSz="609585" rtl="0" eaLnBrk="1" fontAlgn="base" hangingPunct="1">
              <a:lnSpc>
                <a:spcPct val="80000"/>
              </a:lnSpc>
              <a:spcBef>
                <a:spcPct val="0"/>
              </a:spcBef>
              <a:spcAft>
                <a:spcPct val="0"/>
              </a:spcAft>
              <a:defRPr sz="3200" b="1" i="0" kern="1200">
                <a:solidFill>
                  <a:schemeClr val="accent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2pPr>
            <a:lvl3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3pPr>
            <a:lvl4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4pPr>
            <a:lvl5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5pPr>
            <a:lvl6pPr marL="609585"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6pPr>
            <a:lvl7pPr marL="1219170"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7pPr>
            <a:lvl8pPr marL="1828754"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8pPr>
            <a:lvl9pPr marL="2438339"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9pPr>
          </a:lstStyle>
          <a:p>
            <a:pPr marL="0" marR="0" lvl="0" indent="0" algn="l" defTabSz="609585" rtl="0" eaLnBrk="1" fontAlgn="base" latinLnBrk="0" hangingPunct="1">
              <a:lnSpc>
                <a:spcPct val="80000"/>
              </a:lnSpc>
              <a:spcBef>
                <a:spcPct val="0"/>
              </a:spcBef>
              <a:spcAft>
                <a:spcPct val="0"/>
              </a:spcAft>
              <a:buClrTx/>
              <a:buSzTx/>
              <a:buFontTx/>
              <a:buNone/>
              <a:tabLst/>
              <a:defRPr/>
            </a:pPr>
            <a:r>
              <a:rPr kumimoji="0" lang="fi-FI" sz="3200" b="1" i="0" u="none" strike="noStrike" kern="1200" cap="none" spc="0" normalizeH="0" baseline="0" noProof="0">
                <a:ln>
                  <a:noFill/>
                </a:ln>
                <a:solidFill>
                  <a:srgbClr val="32912E"/>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Vaikutusten arviointia</a:t>
            </a:r>
          </a:p>
        </p:txBody>
      </p:sp>
      <p:sp>
        <p:nvSpPr>
          <p:cNvPr id="10" name="Tekstiruutu 9">
            <a:extLst>
              <a:ext uri="{FF2B5EF4-FFF2-40B4-BE49-F238E27FC236}">
                <a16:creationId xmlns:a16="http://schemas.microsoft.com/office/drawing/2014/main" id="{81802149-DAF0-4298-BC9F-07053C4CCFF5}"/>
              </a:ext>
            </a:extLst>
          </p:cNvPr>
          <p:cNvSpPr txBox="1"/>
          <p:nvPr/>
        </p:nvSpPr>
        <p:spPr>
          <a:xfrm>
            <a:off x="600900" y="877599"/>
            <a:ext cx="2372400" cy="248081"/>
          </a:xfrm>
          <a:prstGeom prst="rect">
            <a:avLst/>
          </a:prstGeom>
          <a:noFill/>
        </p:spPr>
        <p:txBody>
          <a:bodyPr wrap="square" rtlCol="0">
            <a:spAutoFit/>
          </a:bodyPr>
          <a:lstStyle/>
          <a:p>
            <a:pPr marL="0" marR="0" lvl="0" indent="0" algn="ctr" defTabSz="609585" rtl="0" eaLnBrk="1" fontAlgn="base" latinLnBrk="0" hangingPunct="1">
              <a:lnSpc>
                <a:spcPct val="92000"/>
              </a:lnSpc>
              <a:spcBef>
                <a:spcPct val="0"/>
              </a:spcBef>
              <a:spcAft>
                <a:spcPct val="0"/>
              </a:spcAft>
              <a:buClr>
                <a:srgbClr val="835738"/>
              </a:buClr>
              <a:buSzTx/>
              <a:buFontTx/>
              <a:buNone/>
              <a:tabLst/>
              <a:defRPr/>
            </a:pPr>
            <a:r>
              <a:rPr kumimoji="0" lang="fi-FI" sz="1100" b="1" i="0" u="none" strike="noStrike" kern="1200" cap="none" spc="0" normalizeH="0" baseline="0" noProof="0">
                <a:ln>
                  <a:noFill/>
                </a:ln>
                <a:solidFill>
                  <a:srgbClr val="32912E"/>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vertaillaan</a:t>
            </a:r>
            <a:r>
              <a:rPr kumimoji="0" lang="fi-FI" sz="1100" b="1" i="0" u="none" strike="noStrike" kern="1200" cap="none" spc="0" normalizeH="0" baseline="0" noProof="0">
                <a:ln>
                  <a:noFill/>
                </a:ln>
                <a:solidFill>
                  <a:srgbClr val="505050"/>
                </a:solidFill>
                <a:effectLst/>
                <a:uLnTx/>
                <a:uFillTx/>
                <a:latin typeface="Open sans"/>
                <a:ea typeface="ＭＳ Ｐゴシック" pitchFamily="34" charset="-128"/>
                <a:cs typeface="Calibri Light"/>
              </a:rPr>
              <a:t> </a:t>
            </a:r>
            <a:r>
              <a:rPr kumimoji="0" lang="fi-FI" sz="1100" b="1" i="0" u="none" strike="noStrike" kern="1200" cap="none" spc="0" normalizeH="0" baseline="0" noProof="0">
                <a:ln>
                  <a:noFill/>
                </a:ln>
                <a:solidFill>
                  <a:srgbClr val="32912E"/>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nykytilanteeseen</a:t>
            </a:r>
          </a:p>
        </p:txBody>
      </p:sp>
      <p:graphicFrame>
        <p:nvGraphicFramePr>
          <p:cNvPr id="11" name="Taulukko 10">
            <a:extLst>
              <a:ext uri="{FF2B5EF4-FFF2-40B4-BE49-F238E27FC236}">
                <a16:creationId xmlns:a16="http://schemas.microsoft.com/office/drawing/2014/main" id="{0EA7FF67-1691-4448-8197-74EB6BAB8DAF}"/>
              </a:ext>
            </a:extLst>
          </p:cNvPr>
          <p:cNvGraphicFramePr>
            <a:graphicFrameLocks noGrp="1"/>
          </p:cNvGraphicFramePr>
          <p:nvPr>
            <p:extLst>
              <p:ext uri="{D42A27DB-BD31-4B8C-83A1-F6EECF244321}">
                <p14:modId xmlns:p14="http://schemas.microsoft.com/office/powerpoint/2010/main" val="2498826175"/>
              </p:ext>
            </p:extLst>
          </p:nvPr>
        </p:nvGraphicFramePr>
        <p:xfrm>
          <a:off x="7600189" y="45680"/>
          <a:ext cx="4534511" cy="1066800"/>
        </p:xfrm>
        <a:graphic>
          <a:graphicData uri="http://schemas.openxmlformats.org/drawingml/2006/table">
            <a:tbl>
              <a:tblPr firstRow="1" bandRow="1">
                <a:tableStyleId>{5940675A-B579-460E-94D1-54222C63F5DA}</a:tableStyleId>
              </a:tblPr>
              <a:tblGrid>
                <a:gridCol w="578534">
                  <a:extLst>
                    <a:ext uri="{9D8B030D-6E8A-4147-A177-3AD203B41FA5}">
                      <a16:colId xmlns:a16="http://schemas.microsoft.com/office/drawing/2014/main" val="2606222489"/>
                    </a:ext>
                  </a:extLst>
                </a:gridCol>
                <a:gridCol w="3955977">
                  <a:extLst>
                    <a:ext uri="{9D8B030D-6E8A-4147-A177-3AD203B41FA5}">
                      <a16:colId xmlns:a16="http://schemas.microsoft.com/office/drawing/2014/main" val="2111472638"/>
                    </a:ext>
                  </a:extLst>
                </a:gridCol>
              </a:tblGrid>
              <a:tr h="180000">
                <a:tc>
                  <a:txBody>
                    <a:bodyPr/>
                    <a:lstStyle/>
                    <a:p>
                      <a:pPr algn="ctr"/>
                      <a:r>
                        <a:rPr lang="fi-FI" sz="800" b="1"/>
                        <a:t>++</a:t>
                      </a:r>
                    </a:p>
                  </a:txBody>
                  <a:tcPr anchor="ctr">
                    <a:solidFill>
                      <a:schemeClr val="accent1">
                        <a:lumMod val="60000"/>
                        <a:lumOff val="40000"/>
                      </a:schemeClr>
                    </a:solidFill>
                  </a:tcPr>
                </a:tc>
                <a:tc>
                  <a:txBody>
                    <a:bodyPr/>
                    <a:lstStyle/>
                    <a:p>
                      <a:pPr algn="l"/>
                      <a:r>
                        <a:rPr lang="fi-FI" sz="800"/>
                        <a:t>Paranee merkittävästi nykytilaan verrattuna ja / tai täyttää asetetut tavoitteet</a:t>
                      </a:r>
                    </a:p>
                  </a:txBody>
                  <a:tcPr anchor="ctr"/>
                </a:tc>
                <a:extLst>
                  <a:ext uri="{0D108BD9-81ED-4DB2-BD59-A6C34878D82A}">
                    <a16:rowId xmlns:a16="http://schemas.microsoft.com/office/drawing/2014/main" val="1636898509"/>
                  </a:ext>
                </a:extLst>
              </a:tr>
              <a:tr h="180000">
                <a:tc>
                  <a:txBody>
                    <a:bodyPr/>
                    <a:lstStyle/>
                    <a:p>
                      <a:pPr algn="ctr"/>
                      <a:r>
                        <a:rPr lang="fi-FI" sz="800" b="1"/>
                        <a:t>+</a:t>
                      </a:r>
                    </a:p>
                  </a:txBody>
                  <a:tcPr anchor="ctr">
                    <a:solidFill>
                      <a:srgbClr val="D2D8C4"/>
                    </a:solidFill>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fi-FI" sz="800"/>
                        <a:t>Paranee nykytilaan verrattuna ja / tai täyttää asetetut tavoitteet</a:t>
                      </a:r>
                    </a:p>
                  </a:txBody>
                  <a:tcPr anchor="ctr"/>
                </a:tc>
                <a:extLst>
                  <a:ext uri="{0D108BD9-81ED-4DB2-BD59-A6C34878D82A}">
                    <a16:rowId xmlns:a16="http://schemas.microsoft.com/office/drawing/2014/main" val="168412713"/>
                  </a:ext>
                </a:extLst>
              </a:tr>
              <a:tr h="180000">
                <a:tc>
                  <a:txBody>
                    <a:bodyPr/>
                    <a:lstStyle/>
                    <a:p>
                      <a:pPr algn="ctr"/>
                      <a:r>
                        <a:rPr lang="fi-FI" sz="800" b="1"/>
                        <a:t>0</a:t>
                      </a:r>
                    </a:p>
                  </a:txBody>
                  <a:tcPr anchor="ctr">
                    <a:solidFill>
                      <a:srgbClr val="E1E2E4"/>
                    </a:solidFill>
                  </a:tcPr>
                </a:tc>
                <a:tc>
                  <a:txBody>
                    <a:bodyPr/>
                    <a:lstStyle/>
                    <a:p>
                      <a:pPr algn="l"/>
                      <a:r>
                        <a:rPr lang="fi-FI" sz="800"/>
                        <a:t>Ei muutosta nykytilaan</a:t>
                      </a:r>
                    </a:p>
                  </a:txBody>
                  <a:tcPr anchor="ctr"/>
                </a:tc>
                <a:extLst>
                  <a:ext uri="{0D108BD9-81ED-4DB2-BD59-A6C34878D82A}">
                    <a16:rowId xmlns:a16="http://schemas.microsoft.com/office/drawing/2014/main" val="3395201168"/>
                  </a:ext>
                </a:extLst>
              </a:tr>
              <a:tr h="180000">
                <a:tc>
                  <a:txBody>
                    <a:bodyPr/>
                    <a:lstStyle/>
                    <a:p>
                      <a:pPr algn="ctr"/>
                      <a:r>
                        <a:rPr lang="fi-FI" sz="800" b="1"/>
                        <a:t>-</a:t>
                      </a:r>
                    </a:p>
                  </a:txBody>
                  <a:tcPr anchor="ctr">
                    <a:solidFill>
                      <a:srgbClr val="F2D7C1"/>
                    </a:solidFill>
                  </a:tcPr>
                </a:tc>
                <a:tc>
                  <a:txBody>
                    <a:bodyPr/>
                    <a:lstStyle/>
                    <a:p>
                      <a:pPr algn="l"/>
                      <a:r>
                        <a:rPr lang="fi-FI" sz="800"/>
                        <a:t>Heikkenee nykytilaan verrattuna</a:t>
                      </a:r>
                    </a:p>
                  </a:txBody>
                  <a:tcPr anchor="ctr"/>
                </a:tc>
                <a:extLst>
                  <a:ext uri="{0D108BD9-81ED-4DB2-BD59-A6C34878D82A}">
                    <a16:rowId xmlns:a16="http://schemas.microsoft.com/office/drawing/2014/main" val="1980926028"/>
                  </a:ext>
                </a:extLst>
              </a:tr>
              <a:tr h="180000">
                <a:tc>
                  <a:txBody>
                    <a:bodyPr/>
                    <a:lstStyle/>
                    <a:p>
                      <a:pPr algn="ctr"/>
                      <a:r>
                        <a:rPr lang="fi-FI" sz="800" b="1"/>
                        <a:t>--</a:t>
                      </a:r>
                    </a:p>
                  </a:txBody>
                  <a:tcPr anchor="ctr">
                    <a:solidFill>
                      <a:srgbClr val="FF5D5D"/>
                    </a:solidFill>
                  </a:tcPr>
                </a:tc>
                <a:tc>
                  <a:txBody>
                    <a:bodyPr/>
                    <a:lstStyle/>
                    <a:p>
                      <a:pPr algn="l"/>
                      <a:r>
                        <a:rPr lang="fi-FI" sz="800"/>
                        <a:t>Heikkenee merkittävästi nykytilaan verrattuna tai ei täytä asetettuja tavoitteita</a:t>
                      </a:r>
                    </a:p>
                  </a:txBody>
                  <a:tcPr anchor="ctr"/>
                </a:tc>
                <a:extLst>
                  <a:ext uri="{0D108BD9-81ED-4DB2-BD59-A6C34878D82A}">
                    <a16:rowId xmlns:a16="http://schemas.microsoft.com/office/drawing/2014/main" val="2927848211"/>
                  </a:ext>
                </a:extLst>
              </a:tr>
            </a:tbl>
          </a:graphicData>
        </a:graphic>
      </p:graphicFrame>
    </p:spTree>
    <p:extLst>
      <p:ext uri="{BB962C8B-B14F-4D97-AF65-F5344CB8AC3E}">
        <p14:creationId xmlns:p14="http://schemas.microsoft.com/office/powerpoint/2010/main" val="2985643524"/>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1EED6259-7903-43BF-9E70-B11D61F683DE}"/>
              </a:ext>
            </a:extLst>
          </p:cNvPr>
          <p:cNvSpPr>
            <a:spLocks noGrp="1"/>
          </p:cNvSpPr>
          <p:nvPr>
            <p:ph type="dt" sz="half" idx="2"/>
          </p:nvPr>
        </p:nvSpPr>
        <p:spPr/>
        <p:txBody>
          <a:bodyPr/>
          <a:lstStyle/>
          <a:p>
            <a:fld id="{3804C455-77E2-9B45-9D19-C70C06C0E88A}" type="datetime1">
              <a:rPr lang="fi-FI" smtClean="0"/>
              <a:t>29.4.2022</a:t>
            </a:fld>
            <a:endParaRPr lang="fi-FI"/>
          </a:p>
        </p:txBody>
      </p:sp>
      <p:sp>
        <p:nvSpPr>
          <p:cNvPr id="3" name="Alatunnisteen paikkamerkki 2">
            <a:extLst>
              <a:ext uri="{FF2B5EF4-FFF2-40B4-BE49-F238E27FC236}">
                <a16:creationId xmlns:a16="http://schemas.microsoft.com/office/drawing/2014/main" id="{1433DD14-BBE3-4D9F-9F56-86B8099F0088}"/>
              </a:ext>
            </a:extLst>
          </p:cNvPr>
          <p:cNvSpPr>
            <a:spLocks noGrp="1"/>
          </p:cNvSpPr>
          <p:nvPr>
            <p:ph type="ftr" sz="quarter" idx="3"/>
          </p:nvPr>
        </p:nvSpPr>
        <p:spPr/>
        <p:txBody>
          <a:bodyPr/>
          <a:lstStyle/>
          <a:p>
            <a:endParaRPr lang="fi-FI"/>
          </a:p>
        </p:txBody>
      </p:sp>
      <p:pic>
        <p:nvPicPr>
          <p:cNvPr id="53" name="Kuva 52">
            <a:extLst>
              <a:ext uri="{FF2B5EF4-FFF2-40B4-BE49-F238E27FC236}">
                <a16:creationId xmlns:a16="http://schemas.microsoft.com/office/drawing/2014/main" id="{5BEA0FE9-116F-42AE-8B03-0EE276462700}"/>
              </a:ext>
            </a:extLst>
          </p:cNvPr>
          <p:cNvPicPr>
            <a:picLocks noChangeAspect="1"/>
          </p:cNvPicPr>
          <p:nvPr/>
        </p:nvPicPr>
        <p:blipFill>
          <a:blip r:embed="rId2"/>
          <a:stretch>
            <a:fillRect/>
          </a:stretch>
        </p:blipFill>
        <p:spPr>
          <a:xfrm>
            <a:off x="996440" y="923695"/>
            <a:ext cx="4500000" cy="5088905"/>
          </a:xfrm>
          <a:prstGeom prst="rect">
            <a:avLst/>
          </a:prstGeom>
        </p:spPr>
      </p:pic>
      <p:pic>
        <p:nvPicPr>
          <p:cNvPr id="104" name="Kuva 103">
            <a:extLst>
              <a:ext uri="{FF2B5EF4-FFF2-40B4-BE49-F238E27FC236}">
                <a16:creationId xmlns:a16="http://schemas.microsoft.com/office/drawing/2014/main" id="{BD53DE18-8AC2-426F-A786-F9E4598434E7}"/>
              </a:ext>
            </a:extLst>
          </p:cNvPr>
          <p:cNvPicPr>
            <a:picLocks noChangeAspect="1"/>
          </p:cNvPicPr>
          <p:nvPr/>
        </p:nvPicPr>
        <p:blipFill>
          <a:blip r:embed="rId3"/>
          <a:stretch>
            <a:fillRect/>
          </a:stretch>
        </p:blipFill>
        <p:spPr>
          <a:xfrm>
            <a:off x="6695560" y="923695"/>
            <a:ext cx="4500000" cy="5088912"/>
          </a:xfrm>
          <a:prstGeom prst="rect">
            <a:avLst/>
          </a:prstGeom>
        </p:spPr>
      </p:pic>
      <p:sp>
        <p:nvSpPr>
          <p:cNvPr id="105" name="Otsikko 3">
            <a:extLst>
              <a:ext uri="{FF2B5EF4-FFF2-40B4-BE49-F238E27FC236}">
                <a16:creationId xmlns:a16="http://schemas.microsoft.com/office/drawing/2014/main" id="{70955D9F-1512-465B-A689-803C431DA778}"/>
              </a:ext>
            </a:extLst>
          </p:cNvPr>
          <p:cNvSpPr txBox="1">
            <a:spLocks/>
          </p:cNvSpPr>
          <p:nvPr/>
        </p:nvSpPr>
        <p:spPr>
          <a:xfrm>
            <a:off x="0" y="0"/>
            <a:ext cx="12192000" cy="923688"/>
          </a:xfrm>
          <a:prstGeom prst="rect">
            <a:avLst/>
          </a:prstGeom>
        </p:spPr>
        <p:txBody>
          <a:bodyPr anchor="ctr"/>
          <a:lstStyle>
            <a:lvl1pPr algn="l" defTabSz="609585" rtl="0" eaLnBrk="1" fontAlgn="base" hangingPunct="1">
              <a:lnSpc>
                <a:spcPct val="80000"/>
              </a:lnSpc>
              <a:spcBef>
                <a:spcPct val="0"/>
              </a:spcBef>
              <a:spcAft>
                <a:spcPct val="0"/>
              </a:spcAft>
              <a:defRPr sz="3200" b="1" i="0" kern="1200">
                <a:solidFill>
                  <a:schemeClr val="accent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2pPr>
            <a:lvl3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3pPr>
            <a:lvl4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4pPr>
            <a:lvl5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5pPr>
            <a:lvl6pPr marL="609585"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6pPr>
            <a:lvl7pPr marL="1219170"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7pPr>
            <a:lvl8pPr marL="1828754"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8pPr>
            <a:lvl9pPr marL="2438339"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9pPr>
          </a:lstStyle>
          <a:p>
            <a:pPr marL="0" marR="0" lvl="0" indent="0" algn="ctr" defTabSz="609585" rtl="0" eaLnBrk="1" fontAlgn="base" latinLnBrk="0" hangingPunct="1">
              <a:lnSpc>
                <a:spcPct val="80000"/>
              </a:lnSpc>
              <a:spcBef>
                <a:spcPct val="0"/>
              </a:spcBef>
              <a:spcAft>
                <a:spcPct val="0"/>
              </a:spcAft>
              <a:buClrTx/>
              <a:buSzTx/>
              <a:buFontTx/>
              <a:buNone/>
              <a:tabLst/>
              <a:defRPr/>
            </a:pPr>
            <a:r>
              <a:rPr kumimoji="0" lang="fi-FI" sz="3200" b="1" i="0" u="none" strike="noStrike" kern="1200" cap="none" spc="0" normalizeH="0" baseline="0" noProof="0">
                <a:ln>
                  <a:noFill/>
                </a:ln>
                <a:solidFill>
                  <a:srgbClr val="32912E"/>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Kuivaniemi - vaihtoehtoiset liikennejärjestelyt</a:t>
            </a:r>
          </a:p>
        </p:txBody>
      </p:sp>
      <p:sp>
        <p:nvSpPr>
          <p:cNvPr id="108" name="Suorakulmio 107">
            <a:extLst>
              <a:ext uri="{FF2B5EF4-FFF2-40B4-BE49-F238E27FC236}">
                <a16:creationId xmlns:a16="http://schemas.microsoft.com/office/drawing/2014/main" id="{88B52E4A-2C2D-4EF8-A8BB-F685C99081C2}"/>
              </a:ext>
            </a:extLst>
          </p:cNvPr>
          <p:cNvSpPr/>
          <p:nvPr/>
        </p:nvSpPr>
        <p:spPr>
          <a:xfrm>
            <a:off x="996439" y="939800"/>
            <a:ext cx="4499999" cy="5066450"/>
          </a:xfrm>
          <a:prstGeom prst="rect">
            <a:avLst/>
          </a:prstGeom>
          <a:noFill/>
          <a:ln w="3810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err="1">
              <a:solidFill>
                <a:schemeClr val="bg1"/>
              </a:solidFill>
              <a:ea typeface="Muli" charset="0"/>
              <a:cs typeface="Muli" charset="0"/>
            </a:endParaRPr>
          </a:p>
        </p:txBody>
      </p:sp>
      <p:sp>
        <p:nvSpPr>
          <p:cNvPr id="109" name="Suorakulmio 108">
            <a:extLst>
              <a:ext uri="{FF2B5EF4-FFF2-40B4-BE49-F238E27FC236}">
                <a16:creationId xmlns:a16="http://schemas.microsoft.com/office/drawing/2014/main" id="{E9DE46E5-6A42-421D-B261-DF09D1F65EBF}"/>
              </a:ext>
            </a:extLst>
          </p:cNvPr>
          <p:cNvSpPr/>
          <p:nvPr/>
        </p:nvSpPr>
        <p:spPr>
          <a:xfrm>
            <a:off x="6695561" y="933450"/>
            <a:ext cx="4499999" cy="5066450"/>
          </a:xfrm>
          <a:prstGeom prst="rect">
            <a:avLst/>
          </a:prstGeom>
          <a:noFill/>
          <a:ln w="3810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fi-FI" sz="1200" err="1">
              <a:solidFill>
                <a:schemeClr val="bg1"/>
              </a:solidFill>
              <a:ea typeface="Muli" charset="0"/>
              <a:cs typeface="Muli" charset="0"/>
            </a:endParaRPr>
          </a:p>
        </p:txBody>
      </p:sp>
      <p:sp>
        <p:nvSpPr>
          <p:cNvPr id="107" name="Suorakulmio 106">
            <a:extLst>
              <a:ext uri="{FF2B5EF4-FFF2-40B4-BE49-F238E27FC236}">
                <a16:creationId xmlns:a16="http://schemas.microsoft.com/office/drawing/2014/main" id="{EA39AEB4-CCE6-4723-9798-9DF6D5814641}"/>
              </a:ext>
            </a:extLst>
          </p:cNvPr>
          <p:cNvSpPr/>
          <p:nvPr/>
        </p:nvSpPr>
        <p:spPr>
          <a:xfrm>
            <a:off x="10973780" y="5574305"/>
            <a:ext cx="720000" cy="36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600" b="1">
                <a:solidFill>
                  <a:schemeClr val="bg1"/>
                </a:solidFill>
                <a:ea typeface="Muli" charset="0"/>
                <a:cs typeface="Muli" charset="0"/>
              </a:rPr>
              <a:t>VE2</a:t>
            </a:r>
            <a:endParaRPr lang="fi-FI" sz="1200" b="1">
              <a:solidFill>
                <a:schemeClr val="bg1"/>
              </a:solidFill>
              <a:ea typeface="Muli" charset="0"/>
              <a:cs typeface="Muli" charset="0"/>
            </a:endParaRPr>
          </a:p>
        </p:txBody>
      </p:sp>
      <p:sp>
        <p:nvSpPr>
          <p:cNvPr id="106" name="Suorakulmio 105">
            <a:extLst>
              <a:ext uri="{FF2B5EF4-FFF2-40B4-BE49-F238E27FC236}">
                <a16:creationId xmlns:a16="http://schemas.microsoft.com/office/drawing/2014/main" id="{DF2BDBF0-4E78-4DA7-9E38-DC0BAA3DB0A6}"/>
              </a:ext>
            </a:extLst>
          </p:cNvPr>
          <p:cNvSpPr/>
          <p:nvPr/>
        </p:nvSpPr>
        <p:spPr>
          <a:xfrm>
            <a:off x="498219" y="5574305"/>
            <a:ext cx="720000" cy="36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r>
              <a:rPr lang="fi-FI" sz="1600" b="1">
                <a:solidFill>
                  <a:schemeClr val="bg1"/>
                </a:solidFill>
                <a:ea typeface="Muli" charset="0"/>
                <a:cs typeface="Muli" charset="0"/>
              </a:rPr>
              <a:t>VE1</a:t>
            </a:r>
            <a:endParaRPr lang="fi-FI" sz="1200" b="1">
              <a:solidFill>
                <a:schemeClr val="bg1"/>
              </a:solidFill>
              <a:ea typeface="Muli" charset="0"/>
              <a:cs typeface="Muli" charset="0"/>
            </a:endParaRPr>
          </a:p>
        </p:txBody>
      </p:sp>
    </p:spTree>
    <p:extLst>
      <p:ext uri="{BB962C8B-B14F-4D97-AF65-F5344CB8AC3E}">
        <p14:creationId xmlns:p14="http://schemas.microsoft.com/office/powerpoint/2010/main" val="2431372268"/>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äivämäärän paikkamerkki 3">
            <a:extLst>
              <a:ext uri="{FF2B5EF4-FFF2-40B4-BE49-F238E27FC236}">
                <a16:creationId xmlns:a16="http://schemas.microsoft.com/office/drawing/2014/main" id="{3858AEF8-405F-40C8-8BAA-8070F29D54F8}"/>
              </a:ext>
            </a:extLst>
          </p:cNvPr>
          <p:cNvSpPr>
            <a:spLocks noGrp="1"/>
          </p:cNvSpPr>
          <p:nvPr>
            <p:ph type="dt" sz="half" idx="2"/>
          </p:nvPr>
        </p:nvSpPr>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fld id="{649D4A59-9075-664D-AD36-DF840CEB6D03}" type="datetime1">
              <a:rPr kumimoji="0" lang="fi-FI" sz="900" b="0" i="0" u="none" strike="noStrike" kern="1200" cap="none" spc="0" normalizeH="0" baseline="0" noProof="0" smtClean="0">
                <a:ln>
                  <a:noFill/>
                </a:ln>
                <a:solidFill>
                  <a:srgbClr val="505050"/>
                </a:solidFill>
                <a:effectLst/>
                <a:uLnTx/>
                <a:uFillTx/>
                <a:latin typeface="Open Sans" panose="020B0606030504020204" pitchFamily="34" charset="0"/>
                <a:ea typeface="ＭＳ Ｐゴシック" pitchFamily="34" charset="-128"/>
                <a:cs typeface="+mn-cs"/>
              </a:rPr>
              <a:pPr marL="0" marR="0" lvl="0" indent="0" algn="l" defTabSz="609585" rtl="0" eaLnBrk="1" fontAlgn="base" latinLnBrk="0" hangingPunct="1">
                <a:lnSpc>
                  <a:spcPct val="100000"/>
                </a:lnSpc>
                <a:spcBef>
                  <a:spcPct val="0"/>
                </a:spcBef>
                <a:spcAft>
                  <a:spcPct val="0"/>
                </a:spcAft>
                <a:buClrTx/>
                <a:buSzTx/>
                <a:buFontTx/>
                <a:buNone/>
                <a:tabLst/>
                <a:defRPr/>
              </a:pPr>
              <a:t>29.4.2022</a:t>
            </a:fld>
            <a:endParaRPr kumimoji="0" lang="fi-FI" sz="900" b="0" i="0" u="none" strike="noStrike" kern="1200" cap="none" spc="0" normalizeH="0" baseline="0" noProof="0">
              <a:ln>
                <a:noFill/>
              </a:ln>
              <a:solidFill>
                <a:srgbClr val="505050"/>
              </a:solidFill>
              <a:effectLst/>
              <a:uLnTx/>
              <a:uFillTx/>
              <a:latin typeface="Open Sans" panose="020B0606030504020204" pitchFamily="34" charset="0"/>
              <a:ea typeface="ＭＳ Ｐゴシック" pitchFamily="34" charset="-128"/>
              <a:cs typeface="+mn-cs"/>
            </a:endParaRPr>
          </a:p>
        </p:txBody>
      </p:sp>
      <p:sp>
        <p:nvSpPr>
          <p:cNvPr id="5" name="Alatunnisteen paikkamerkki 4">
            <a:extLst>
              <a:ext uri="{FF2B5EF4-FFF2-40B4-BE49-F238E27FC236}">
                <a16:creationId xmlns:a16="http://schemas.microsoft.com/office/drawing/2014/main" id="{9DEAC443-F115-43F1-B538-F15181877D55}"/>
              </a:ext>
            </a:extLst>
          </p:cNvPr>
          <p:cNvSpPr>
            <a:spLocks noGrp="1"/>
          </p:cNvSpPr>
          <p:nvPr>
            <p:ph type="ftr" sz="quarter" idx="3"/>
          </p:nvPr>
        </p:nvSpPr>
        <p:spPr/>
        <p:txBody>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i-FI" sz="900" b="0" i="0" u="none" strike="noStrike" kern="1200" cap="none" spc="0" normalizeH="0" baseline="0" noProof="0">
              <a:ln>
                <a:noFill/>
              </a:ln>
              <a:solidFill>
                <a:srgbClr val="282828"/>
              </a:solidFill>
              <a:effectLst/>
              <a:uLnTx/>
              <a:uFillTx/>
              <a:latin typeface="Open Sans" panose="020B0606030504020204" pitchFamily="34" charset="0"/>
              <a:ea typeface="ＭＳ Ｐゴシック" pitchFamily="34" charset="-128"/>
              <a:cs typeface="+mn-cs"/>
            </a:endParaRPr>
          </a:p>
        </p:txBody>
      </p:sp>
      <p:graphicFrame>
        <p:nvGraphicFramePr>
          <p:cNvPr id="6" name="Taulukko 6">
            <a:extLst>
              <a:ext uri="{FF2B5EF4-FFF2-40B4-BE49-F238E27FC236}">
                <a16:creationId xmlns:a16="http://schemas.microsoft.com/office/drawing/2014/main" id="{77A30018-7F08-4438-8B69-E9B31B26B445}"/>
              </a:ext>
            </a:extLst>
          </p:cNvPr>
          <p:cNvGraphicFramePr>
            <a:graphicFrameLocks noGrp="1"/>
          </p:cNvGraphicFramePr>
          <p:nvPr>
            <p:extLst>
              <p:ext uri="{D42A27DB-BD31-4B8C-83A1-F6EECF244321}">
                <p14:modId xmlns:p14="http://schemas.microsoft.com/office/powerpoint/2010/main" val="705353621"/>
              </p:ext>
            </p:extLst>
          </p:nvPr>
        </p:nvGraphicFramePr>
        <p:xfrm>
          <a:off x="114301" y="1184486"/>
          <a:ext cx="12020401" cy="4898150"/>
        </p:xfrm>
        <a:graphic>
          <a:graphicData uri="http://schemas.openxmlformats.org/drawingml/2006/table">
            <a:tbl>
              <a:tblPr firstRow="1" bandRow="1">
                <a:tableStyleId>{5940675A-B579-460E-94D1-54222C63F5DA}</a:tableStyleId>
              </a:tblPr>
              <a:tblGrid>
                <a:gridCol w="1226819">
                  <a:extLst>
                    <a:ext uri="{9D8B030D-6E8A-4147-A177-3AD203B41FA5}">
                      <a16:colId xmlns:a16="http://schemas.microsoft.com/office/drawing/2014/main" val="1535771074"/>
                    </a:ext>
                  </a:extLst>
                </a:gridCol>
                <a:gridCol w="5396791">
                  <a:extLst>
                    <a:ext uri="{9D8B030D-6E8A-4147-A177-3AD203B41FA5}">
                      <a16:colId xmlns:a16="http://schemas.microsoft.com/office/drawing/2014/main" val="2209669313"/>
                    </a:ext>
                  </a:extLst>
                </a:gridCol>
                <a:gridCol w="5396791">
                  <a:extLst>
                    <a:ext uri="{9D8B030D-6E8A-4147-A177-3AD203B41FA5}">
                      <a16:colId xmlns:a16="http://schemas.microsoft.com/office/drawing/2014/main" val="355372965"/>
                    </a:ext>
                  </a:extLst>
                </a:gridCol>
              </a:tblGrid>
              <a:tr h="363110">
                <a:tc>
                  <a:txBody>
                    <a:bodyPr/>
                    <a:lstStyle/>
                    <a:p>
                      <a:pPr algn="ctr"/>
                      <a:r>
                        <a:rPr lang="fi-FI" sz="900" b="1" kern="1200">
                          <a:solidFill>
                            <a:schemeClr val="tx1"/>
                          </a:solidFill>
                          <a:latin typeface="+mn-lt"/>
                          <a:ea typeface="+mn-ea"/>
                          <a:cs typeface="+mn-cs"/>
                        </a:rPr>
                        <a:t>Vaikutusalue</a:t>
                      </a:r>
                    </a:p>
                  </a:txBody>
                  <a:tcPr anchor="ctr"/>
                </a:tc>
                <a:tc>
                  <a:txBody>
                    <a:bodyPr/>
                    <a:lstStyle/>
                    <a:p>
                      <a:pPr algn="ctr"/>
                      <a:r>
                        <a:rPr lang="fi-FI" sz="900" b="1"/>
                        <a:t>Vaihtoehto VE1</a:t>
                      </a:r>
                    </a:p>
                  </a:txBody>
                  <a:tcPr anchor="ctr"/>
                </a:tc>
                <a:tc>
                  <a:txBody>
                    <a:bodyPr/>
                    <a:lstStyle/>
                    <a:p>
                      <a:pPr algn="ctr"/>
                      <a:r>
                        <a:rPr lang="fi-FI" sz="900" b="1"/>
                        <a:t>Vaihtoehto VE2</a:t>
                      </a:r>
                    </a:p>
                  </a:txBody>
                  <a:tcPr anchor="ctr"/>
                </a:tc>
                <a:extLst>
                  <a:ext uri="{0D108BD9-81ED-4DB2-BD59-A6C34878D82A}">
                    <a16:rowId xmlns:a16="http://schemas.microsoft.com/office/drawing/2014/main" val="4174998791"/>
                  </a:ext>
                </a:extLst>
              </a:tr>
              <a:tr h="1179853">
                <a:tc>
                  <a:txBody>
                    <a:bodyPr/>
                    <a:lstStyle/>
                    <a:p>
                      <a:pPr algn="ctr"/>
                      <a:r>
                        <a:rPr lang="fi-FI" sz="900" b="1"/>
                        <a:t>Liikenteelliset </a:t>
                      </a:r>
                    </a:p>
                    <a:p>
                      <a:pPr algn="ctr"/>
                      <a:r>
                        <a:rPr lang="fi-FI" sz="900" b="1"/>
                        <a:t>vaikutukset</a:t>
                      </a:r>
                    </a:p>
                  </a:txBody>
                  <a:tcPr anchor="ct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Parantaa liikenneturvallisuutta &amp; valtatien liikenteen sujuvuutta</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fi-FI" sz="800">
                          <a:solidFill>
                            <a:schemeClr val="accent3"/>
                          </a:solidFill>
                        </a:rPr>
                        <a:t>Valtatielle liittyminen eri tasossa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Hyvät yhteydet huoltoasemalle</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Vanhatien liikenteen rauhoittaminen &amp; koulun ympäristön rauhoittamine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Riittävät yhteydet Kuivaniemen taajamaan sekä etelä- &amp; pohjoissuunnasta (rinnakkaisyhteys)</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Rinnakkaisyhteys mahdollistaa paikallisen liikenteen siirtymisen pois päätieltä sekä luo vaihtoehtoisen reitin liikenteen häiriötilanteiss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Rautatien tasoristeyksen poistuminen</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fi-FI" sz="800">
                          <a:solidFill>
                            <a:schemeClr val="accent3"/>
                          </a:solidFill>
                        </a:rPr>
                        <a:t>Toimivat jalankulun ja pyöräilyn yhteydet</a:t>
                      </a:r>
                    </a:p>
                    <a:p>
                      <a:pPr marL="171450" indent="-171450" algn="l">
                        <a:buFont typeface="Arial" panose="020B0604020202020204" pitchFamily="34" charset="0"/>
                        <a:buChar char="•"/>
                      </a:pPr>
                      <a:r>
                        <a:rPr lang="fi-FI" sz="800">
                          <a:solidFill>
                            <a:schemeClr val="accent3"/>
                          </a:solidFill>
                        </a:rPr>
                        <a:t>Kuivaniemen taajaman ajoneuvoliikenteen saavutettavuus heikkenee vähäisesti</a:t>
                      </a:r>
                    </a:p>
                    <a:p>
                      <a:pPr marL="171450" indent="-171450" algn="l">
                        <a:buFont typeface="Arial" panose="020B0604020202020204" pitchFamily="34" charset="0"/>
                        <a:buChar char="•"/>
                      </a:pPr>
                      <a:r>
                        <a:rPr lang="fi-FI" sz="800">
                          <a:solidFill>
                            <a:schemeClr val="accent3"/>
                          </a:solidFill>
                        </a:rPr>
                        <a:t>Eritasoliittymien välinen etäisyys 1+1-kaistaista tietä n. 3 km</a:t>
                      </a:r>
                    </a:p>
                  </a:txBody>
                  <a:tcPr>
                    <a:solidFill>
                      <a:srgbClr val="D2D8C4"/>
                    </a:solidFill>
                  </a:tcP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Parantaa liikenneturvallisuutta &amp; valtatien liikenteen sujuvuutta</a:t>
                      </a:r>
                    </a:p>
                    <a:p>
                      <a:pPr marL="171450" indent="-171450" algn="l">
                        <a:buFont typeface="Arial" panose="020B0604020202020204" pitchFamily="34" charset="0"/>
                        <a:buChar char="•"/>
                      </a:pPr>
                      <a:r>
                        <a:rPr lang="fi-FI" sz="800">
                          <a:solidFill>
                            <a:schemeClr val="accent3"/>
                          </a:solidFill>
                        </a:rPr>
                        <a:t>Valtatielle liittyminen eri tasossa </a:t>
                      </a:r>
                    </a:p>
                    <a:p>
                      <a:pPr marL="171450" indent="-171450" algn="l">
                        <a:buFont typeface="Arial" panose="020B0604020202020204" pitchFamily="34" charset="0"/>
                        <a:buChar char="•"/>
                      </a:pPr>
                      <a:r>
                        <a:rPr lang="fi-FI" sz="800">
                          <a:solidFill>
                            <a:schemeClr val="accent3"/>
                          </a:solidFill>
                        </a:rPr>
                        <a:t>Hyvät yhteydet huoltoasemalle</a:t>
                      </a:r>
                    </a:p>
                    <a:p>
                      <a:pPr marL="171450" indent="-171450" algn="l">
                        <a:buFont typeface="Arial" panose="020B0604020202020204" pitchFamily="34" charset="0"/>
                        <a:buChar char="•"/>
                      </a:pPr>
                      <a:r>
                        <a:rPr lang="fi-FI" sz="800">
                          <a:solidFill>
                            <a:schemeClr val="accent3"/>
                          </a:solidFill>
                        </a:rPr>
                        <a:t>Sujuvat ja turvalliset liikenneyhteydet koulun ja muun taajaman välillä</a:t>
                      </a:r>
                    </a:p>
                    <a:p>
                      <a:pPr marL="171450" indent="-171450" algn="l">
                        <a:buFont typeface="Arial" panose="020B0604020202020204" pitchFamily="34" charset="0"/>
                        <a:buChar char="•"/>
                      </a:pPr>
                      <a:r>
                        <a:rPr lang="fi-FI" sz="800">
                          <a:solidFill>
                            <a:schemeClr val="accent3"/>
                          </a:solidFill>
                        </a:rPr>
                        <a:t>Nopea yhteys Kuivajoen taajamaan, mahdollistaa palveluiden kehittämisen myös pitkänmatkan liikenteelle.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fi-FI" sz="800" b="0" i="0" u="none" strike="noStrike" noProof="0">
                          <a:solidFill>
                            <a:schemeClr val="accent3"/>
                          </a:solidFill>
                          <a:latin typeface="Open sans"/>
                        </a:rPr>
                        <a:t>Toimivat jalankulun ja pyöräilyn yhteydet</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Rinnakkaisyhteys mahdollistaa paikallisen liikenteen siirtymisen pois päätieltä sekä luo vaihtoehtoisen reitin liikenteen häiriötilanteissa</a:t>
                      </a:r>
                    </a:p>
                  </a:txBody>
                  <a:tcPr>
                    <a:solidFill>
                      <a:srgbClr val="72D16E"/>
                    </a:solidFill>
                  </a:tcPr>
                </a:tc>
                <a:extLst>
                  <a:ext uri="{0D108BD9-81ED-4DB2-BD59-A6C34878D82A}">
                    <a16:rowId xmlns:a16="http://schemas.microsoft.com/office/drawing/2014/main" val="599775101"/>
                  </a:ext>
                </a:extLst>
              </a:tr>
              <a:tr h="900000">
                <a:tc>
                  <a:txBody>
                    <a:bodyPr/>
                    <a:lstStyle/>
                    <a:p>
                      <a:pPr algn="ctr"/>
                      <a:r>
                        <a:rPr lang="fi-FI" sz="900" b="1"/>
                        <a:t>Maankäytölliset </a:t>
                      </a:r>
                    </a:p>
                    <a:p>
                      <a:pPr algn="ctr"/>
                      <a:r>
                        <a:rPr lang="fi-FI" sz="900" b="1"/>
                        <a:t>vaikutukset</a:t>
                      </a:r>
                    </a:p>
                  </a:txBody>
                  <a:tcPr anchor="ct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Mahdollistaa Kuivaniemen teollisuusalueen kehittämise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Säilyttää Vanhatien &amp; koulun alueen ympäristön rauhallisen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Uusi rinnakkaisyhteys mahdollistaa maankäytön kehittämisen uuden väylän varteen sekä liikenneverkon kehittämisen myös radan itäpuolelle</a:t>
                      </a:r>
                    </a:p>
                  </a:txBody>
                  <a:tcPr>
                    <a:solidFill>
                      <a:srgbClr val="D2D8C4"/>
                    </a:solidFill>
                  </a:tcP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Mahdollistaa Kuivaniemen teollisuusalueen kehittämisen</a:t>
                      </a:r>
                    </a:p>
                    <a:p>
                      <a:pPr marL="171450" indent="-171450" algn="l">
                        <a:buFont typeface="Arial" panose="020B0604020202020204" pitchFamily="34" charset="0"/>
                        <a:buChar char="•"/>
                      </a:pPr>
                      <a:r>
                        <a:rPr lang="fi-FI" sz="800">
                          <a:solidFill>
                            <a:schemeClr val="accent3"/>
                          </a:solidFill>
                        </a:rPr>
                        <a:t>Kuivajoentien ja </a:t>
                      </a:r>
                      <a:r>
                        <a:rPr lang="fi-FI" sz="800" err="1">
                          <a:solidFill>
                            <a:schemeClr val="accent3"/>
                          </a:solidFill>
                        </a:rPr>
                        <a:t>vt</a:t>
                      </a:r>
                      <a:r>
                        <a:rPr lang="fi-FI" sz="800">
                          <a:solidFill>
                            <a:schemeClr val="accent3"/>
                          </a:solidFill>
                        </a:rPr>
                        <a:t> 4 eritasoliittymän sijainti saattaa aiheuttaa rakennetussa ympäristössä lunastustarpeita.</a:t>
                      </a:r>
                    </a:p>
                    <a:p>
                      <a:pPr marL="171450" lvl="0" indent="-171450" algn="l">
                        <a:buFont typeface="Arial" panose="020B0604020202020204" pitchFamily="34" charset="0"/>
                        <a:buChar char="•"/>
                      </a:pPr>
                      <a:r>
                        <a:rPr lang="fi-FI" sz="800">
                          <a:solidFill>
                            <a:schemeClr val="accent3"/>
                          </a:solidFill>
                        </a:rPr>
                        <a:t>Lisää liikennettä Vanhatiellä uuden siltayhteyden myötä.</a:t>
                      </a:r>
                    </a:p>
                    <a:p>
                      <a:pPr marL="171450" indent="-171450" algn="l">
                        <a:buFont typeface="Arial" panose="020B0604020202020204" pitchFamily="34" charset="0"/>
                        <a:buChar char="•"/>
                      </a:pPr>
                      <a:r>
                        <a:rPr lang="fi-FI" sz="800">
                          <a:solidFill>
                            <a:schemeClr val="accent3"/>
                          </a:solidFill>
                        </a:rPr>
                        <a:t>Uusi vesistösilta mahdollistaa maankäytön ja toimintojen kehittämisen </a:t>
                      </a:r>
                    </a:p>
                  </a:txBody>
                  <a:tcPr>
                    <a:solidFill>
                      <a:srgbClr val="F2D7C1"/>
                    </a:solidFill>
                  </a:tcPr>
                </a:tc>
                <a:extLst>
                  <a:ext uri="{0D108BD9-81ED-4DB2-BD59-A6C34878D82A}">
                    <a16:rowId xmlns:a16="http://schemas.microsoft.com/office/drawing/2014/main" val="4264748030"/>
                  </a:ext>
                </a:extLst>
              </a:tr>
              <a:tr h="1117679">
                <a:tc>
                  <a:txBody>
                    <a:bodyPr/>
                    <a:lstStyle/>
                    <a:p>
                      <a:pPr algn="ctr"/>
                      <a:r>
                        <a:rPr lang="fi-FI" sz="900" b="1"/>
                        <a:t>Ympäristölliset </a:t>
                      </a:r>
                    </a:p>
                    <a:p>
                      <a:pPr algn="ctr"/>
                      <a:r>
                        <a:rPr lang="fi-FI" sz="900" b="1"/>
                        <a:t>vaikutukset</a:t>
                      </a:r>
                    </a:p>
                  </a:txBody>
                  <a:tcPr anchor="ctr"/>
                </a:tc>
                <a:tc>
                  <a:txBody>
                    <a:bodyPr/>
                    <a:lstStyle/>
                    <a:p>
                      <a:pPr marL="171450" indent="-171450" algn="l">
                        <a:buFont typeface="Arial" panose="020B0604020202020204" pitchFamily="34" charset="0"/>
                        <a:buChar char="•"/>
                      </a:pPr>
                      <a:r>
                        <a:rPr lang="fi-FI" sz="800">
                          <a:solidFill>
                            <a:schemeClr val="accent3"/>
                          </a:solidFill>
                        </a:rPr>
                        <a:t>Pohjoinen eritasoliittymä sijoittuu pohjavesialueelle. Mahdollisia vaikutuksia ja tehtäviä esim. riskien arviointi, suojaustarpeen selvittäminen, vesilain mukaisen luvan hakeminen, tielinjauksen suunnittelu etäälle vedenottamoista ja tuotavan maa-aineksen soveltuvuuden selvittäminen. Kustannusvaikutuksia sekä suunnittelu- että rakentamisvaiheessa. Myös pohjoiset uudet tielinjaukset pohjavesialueell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Melualue laajenee nykyisestä ennustetun liikennemäärän kasvun ja uusien tieyhteyksien seurauksena. Hankkeella ei ole merkittää vaikutusta ajoneuvoliikenteen kokonaismäärään. Meluntorjuntaratkaisuilla meluhaittoja voidaan vähentää asuin- ja vapaa-ajan kiinteistöillä. Tarvittavat meluntorjuntaratkaisut tulee selvittää jatkosuunnittelussa.</a:t>
                      </a:r>
                    </a:p>
                  </a:txBody>
                  <a:tcPr>
                    <a:solidFill>
                      <a:srgbClr val="F2D7C1"/>
                    </a:solidFill>
                  </a:tcPr>
                </a:tc>
                <a:tc>
                  <a:txBody>
                    <a:bodyPr/>
                    <a:lstStyle/>
                    <a:p>
                      <a:pPr marL="171450" indent="-171450" algn="l">
                        <a:buFont typeface="Arial" panose="020B0604020202020204" pitchFamily="34" charset="0"/>
                        <a:buChar char="•"/>
                      </a:pPr>
                      <a:r>
                        <a:rPr lang="fi-FI" sz="800">
                          <a:solidFill>
                            <a:schemeClr val="accent3"/>
                          </a:solidFill>
                        </a:rPr>
                        <a:t>Uusi jokisiltayhteys muuttaa luonnonympäristöä ja jokimaisema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Uuden vesistösillan rakentaminen voi vaatia vesilain mukaisen luvan. Vaikutuksia suunnitteluun ja aikatauluun. Happamien sulfaattimaiden esiintyminen selvitettävä. Vaikutuksia suunnittelu- ja toteutuskustannuksii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Valtatien länsipuolen toimenpiteet sijoittuvat maakuntakaavan aluerajauksella merkitylle kulttuurihistoriallisesti/maisemallisesti merkittävälle alueelle (Kuivaniemen kk-Pohjoisranta). Pohjois-Pohjanmaan rantatien reitti sijaitsee myös valtatien länsipuolell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Joen pohjoispuolen uudet tielinjaukset pohjavesialueella.</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Melualue laajenee nykyisestä ennustetun liikennemäärän kasvun ja uusien tieyhteyksien sekä vesistösillan seurauksena. Hankkeella ei ole merkittää vaikutusta ajoneuvoliikenteen kokonaismäärään. Meluntorjuntaratkaisuilla meluhaittoja voidaan vähentää asuin- ja vapaa-ajan kiinteistöillä. Tarvittavat meluntorjuntaratkaisut tulee selvittää jatkosuunnittelussa.</a:t>
                      </a:r>
                    </a:p>
                  </a:txBody>
                  <a:tcPr>
                    <a:solidFill>
                      <a:srgbClr val="F2D7C1"/>
                    </a:solidFill>
                  </a:tcPr>
                </a:tc>
                <a:extLst>
                  <a:ext uri="{0D108BD9-81ED-4DB2-BD59-A6C34878D82A}">
                    <a16:rowId xmlns:a16="http://schemas.microsoft.com/office/drawing/2014/main" val="2153727017"/>
                  </a:ext>
                </a:extLst>
              </a:tr>
              <a:tr h="648000">
                <a:tc>
                  <a:txBody>
                    <a:bodyPr/>
                    <a:lstStyle/>
                    <a:p>
                      <a:pPr algn="ctr"/>
                      <a:r>
                        <a:rPr lang="fi-FI" sz="900" b="1"/>
                        <a:t>Toteutettavuus</a:t>
                      </a:r>
                    </a:p>
                  </a:txBody>
                  <a:tcPr anchor="ctr"/>
                </a:tc>
                <a:tc>
                  <a:txBody>
                    <a:bodyPr/>
                    <a:lstStyle/>
                    <a:p>
                      <a:pPr marL="171450" indent="-171450" algn="l">
                        <a:buFont typeface="Arial" panose="020B0604020202020204" pitchFamily="34" charset="0"/>
                        <a:buChar char="•"/>
                      </a:pPr>
                      <a:r>
                        <a:rPr lang="fi-FI" sz="800">
                          <a:solidFill>
                            <a:schemeClr val="accent3"/>
                          </a:solidFill>
                        </a:rPr>
                        <a:t>Kuivajoen pohjoispuoleinen eritasoliittymä pohjavesialueella.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i-FI" sz="800">
                          <a:solidFill>
                            <a:schemeClr val="accent3"/>
                          </a:solidFill>
                        </a:rPr>
                        <a:t>Rinnakkaistieyhteydet helposti toteutettavissa.</a:t>
                      </a:r>
                    </a:p>
                  </a:txBody>
                  <a:tcPr>
                    <a:solidFill>
                      <a:srgbClr val="E1E2E4"/>
                    </a:solidFill>
                  </a:tcPr>
                </a:tc>
                <a:tc>
                  <a:txBody>
                    <a:bodyPr/>
                    <a:lstStyle/>
                    <a:p>
                      <a:pPr marL="171450" indent="-171450" algn="l">
                        <a:buFont typeface="Arial" panose="020B0604020202020204" pitchFamily="34" charset="0"/>
                        <a:buChar char="•"/>
                      </a:pPr>
                      <a:r>
                        <a:rPr lang="fi-FI" sz="800">
                          <a:solidFill>
                            <a:schemeClr val="accent3"/>
                          </a:solidFill>
                        </a:rPr>
                        <a:t>Kuivajoentien eritasoliittymän mittavat tiejärjestelyt aiheuttavat paljon muutoksia olemassa olevaan ympäristöön.</a:t>
                      </a:r>
                    </a:p>
                    <a:p>
                      <a:pPr marL="171450" indent="-171450" algn="l">
                        <a:buFont typeface="Arial" panose="020B0604020202020204" pitchFamily="34" charset="0"/>
                        <a:buChar char="•"/>
                      </a:pPr>
                      <a:r>
                        <a:rPr lang="fi-FI" sz="800">
                          <a:solidFill>
                            <a:schemeClr val="accent3"/>
                          </a:solidFill>
                        </a:rPr>
                        <a:t>Rinnakkaistieyhteydet helposti toteutettavissa.</a:t>
                      </a:r>
                    </a:p>
                  </a:txBody>
                  <a:tcPr>
                    <a:solidFill>
                      <a:srgbClr val="E1E2E4"/>
                    </a:solidFill>
                  </a:tcPr>
                </a:tc>
                <a:extLst>
                  <a:ext uri="{0D108BD9-81ED-4DB2-BD59-A6C34878D82A}">
                    <a16:rowId xmlns:a16="http://schemas.microsoft.com/office/drawing/2014/main" val="2050728536"/>
                  </a:ext>
                </a:extLst>
              </a:tr>
            </a:tbl>
          </a:graphicData>
        </a:graphic>
      </p:graphicFrame>
      <p:sp>
        <p:nvSpPr>
          <p:cNvPr id="8" name="Otsikko 3">
            <a:extLst>
              <a:ext uri="{FF2B5EF4-FFF2-40B4-BE49-F238E27FC236}">
                <a16:creationId xmlns:a16="http://schemas.microsoft.com/office/drawing/2014/main" id="{06BC4675-54BA-4082-9C45-469219D55410}"/>
              </a:ext>
            </a:extLst>
          </p:cNvPr>
          <p:cNvSpPr txBox="1">
            <a:spLocks/>
          </p:cNvSpPr>
          <p:nvPr/>
        </p:nvSpPr>
        <p:spPr>
          <a:xfrm>
            <a:off x="600900" y="472515"/>
            <a:ext cx="5492808" cy="569863"/>
          </a:xfrm>
          <a:prstGeom prst="rect">
            <a:avLst/>
          </a:prstGeom>
        </p:spPr>
        <p:txBody>
          <a:bodyPr/>
          <a:lstStyle>
            <a:lvl1pPr algn="l" defTabSz="609585" rtl="0" eaLnBrk="1" fontAlgn="base" hangingPunct="1">
              <a:lnSpc>
                <a:spcPct val="80000"/>
              </a:lnSpc>
              <a:spcBef>
                <a:spcPct val="0"/>
              </a:spcBef>
              <a:spcAft>
                <a:spcPct val="0"/>
              </a:spcAft>
              <a:defRPr sz="3200" b="1" i="0" kern="1200">
                <a:solidFill>
                  <a:schemeClr val="accent1"/>
                </a:solidFill>
                <a:latin typeface="Open Sans Extrabold" panose="020B0606030504020204" pitchFamily="34" charset="0"/>
                <a:ea typeface="Open Sans Extrabold" panose="020B0606030504020204" pitchFamily="34" charset="0"/>
                <a:cs typeface="Open Sans Extrabold" panose="020B0606030504020204" pitchFamily="34" charset="0"/>
              </a:defRPr>
            </a:lvl1pPr>
            <a:lvl2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2pPr>
            <a:lvl3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3pPr>
            <a:lvl4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4pPr>
            <a:lvl5pPr algn="l" defTabSz="609585" rtl="0" eaLnBrk="1" fontAlgn="base" hangingPunct="1">
              <a:spcBef>
                <a:spcPct val="0"/>
              </a:spcBef>
              <a:spcAft>
                <a:spcPct val="0"/>
              </a:spcAft>
              <a:defRPr sz="2933">
                <a:solidFill>
                  <a:schemeClr val="tx1"/>
                </a:solidFill>
                <a:latin typeface="FS Emeric Book" charset="0"/>
                <a:ea typeface="ＭＳ Ｐゴシック" charset="0"/>
                <a:cs typeface="FS Emeric Book" pitchFamily="50" charset="0"/>
              </a:defRPr>
            </a:lvl5pPr>
            <a:lvl6pPr marL="609585"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6pPr>
            <a:lvl7pPr marL="1219170"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7pPr>
            <a:lvl8pPr marL="1828754"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8pPr>
            <a:lvl9pPr marL="2438339" algn="l" defTabSz="609585" rtl="0" eaLnBrk="1" fontAlgn="base" hangingPunct="1">
              <a:spcBef>
                <a:spcPct val="0"/>
              </a:spcBef>
              <a:spcAft>
                <a:spcPct val="0"/>
              </a:spcAft>
              <a:defRPr sz="2667">
                <a:solidFill>
                  <a:srgbClr val="444544"/>
                </a:solidFill>
                <a:latin typeface="Arial" charset="0"/>
                <a:ea typeface="ＭＳ Ｐゴシック" charset="0"/>
                <a:cs typeface="ＭＳ Ｐゴシック" charset="0"/>
              </a:defRPr>
            </a:lvl9pPr>
          </a:lstStyle>
          <a:p>
            <a:pPr marL="0" marR="0" lvl="0" indent="0" algn="l" defTabSz="609585" rtl="0" eaLnBrk="1" fontAlgn="base" latinLnBrk="0" hangingPunct="1">
              <a:lnSpc>
                <a:spcPct val="80000"/>
              </a:lnSpc>
              <a:spcBef>
                <a:spcPct val="0"/>
              </a:spcBef>
              <a:spcAft>
                <a:spcPct val="0"/>
              </a:spcAft>
              <a:buClrTx/>
              <a:buSzTx/>
              <a:buFontTx/>
              <a:buNone/>
              <a:tabLst/>
              <a:defRPr/>
            </a:pPr>
            <a:r>
              <a:rPr kumimoji="0" lang="fi-FI" sz="3200" b="1" i="0" u="none" strike="noStrike" kern="1200" cap="none" spc="0" normalizeH="0" baseline="0" noProof="0">
                <a:ln>
                  <a:noFill/>
                </a:ln>
                <a:solidFill>
                  <a:srgbClr val="32912E"/>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Vaikutusten arviointia</a:t>
            </a:r>
          </a:p>
        </p:txBody>
      </p:sp>
      <p:sp>
        <p:nvSpPr>
          <p:cNvPr id="10" name="Tekstiruutu 9">
            <a:extLst>
              <a:ext uri="{FF2B5EF4-FFF2-40B4-BE49-F238E27FC236}">
                <a16:creationId xmlns:a16="http://schemas.microsoft.com/office/drawing/2014/main" id="{37DDE318-80A4-4D3C-9D50-9743BF86F0EF}"/>
              </a:ext>
            </a:extLst>
          </p:cNvPr>
          <p:cNvSpPr txBox="1"/>
          <p:nvPr/>
        </p:nvSpPr>
        <p:spPr>
          <a:xfrm>
            <a:off x="600900" y="877599"/>
            <a:ext cx="2372400" cy="248081"/>
          </a:xfrm>
          <a:prstGeom prst="rect">
            <a:avLst/>
          </a:prstGeom>
          <a:noFill/>
        </p:spPr>
        <p:txBody>
          <a:bodyPr wrap="square" rtlCol="0">
            <a:spAutoFit/>
          </a:bodyPr>
          <a:lstStyle/>
          <a:p>
            <a:pPr marL="0" marR="0" lvl="0" indent="0" algn="ctr" defTabSz="609585" rtl="0" eaLnBrk="1" fontAlgn="base" latinLnBrk="0" hangingPunct="1">
              <a:lnSpc>
                <a:spcPct val="92000"/>
              </a:lnSpc>
              <a:spcBef>
                <a:spcPct val="0"/>
              </a:spcBef>
              <a:spcAft>
                <a:spcPct val="0"/>
              </a:spcAft>
              <a:buClr>
                <a:srgbClr val="835738"/>
              </a:buClr>
              <a:buSzTx/>
              <a:buFontTx/>
              <a:buNone/>
              <a:tabLst/>
              <a:defRPr/>
            </a:pPr>
            <a:r>
              <a:rPr kumimoji="0" lang="fi-FI" sz="1100" b="1" i="0" u="none" strike="noStrike" kern="1200" cap="none" spc="0" normalizeH="0" baseline="0" noProof="0">
                <a:ln>
                  <a:noFill/>
                </a:ln>
                <a:solidFill>
                  <a:srgbClr val="32912E"/>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vertaillaan</a:t>
            </a:r>
            <a:r>
              <a:rPr kumimoji="0" lang="fi-FI" sz="1100" b="1" i="0" u="none" strike="noStrike" kern="1200" cap="none" spc="0" normalizeH="0" baseline="0" noProof="0">
                <a:ln>
                  <a:noFill/>
                </a:ln>
                <a:solidFill>
                  <a:srgbClr val="505050"/>
                </a:solidFill>
                <a:effectLst/>
                <a:uLnTx/>
                <a:uFillTx/>
                <a:latin typeface="Open sans"/>
                <a:ea typeface="ＭＳ Ｐゴシック" pitchFamily="34" charset="-128"/>
                <a:cs typeface="Calibri Light"/>
              </a:rPr>
              <a:t> </a:t>
            </a:r>
            <a:r>
              <a:rPr kumimoji="0" lang="fi-FI" sz="1100" b="1" i="0" u="none" strike="noStrike" kern="1200" cap="none" spc="0" normalizeH="0" baseline="0" noProof="0">
                <a:ln>
                  <a:noFill/>
                </a:ln>
                <a:solidFill>
                  <a:srgbClr val="32912E"/>
                </a:solidFill>
                <a:effectLst/>
                <a:uLnTx/>
                <a:uFillTx/>
                <a:latin typeface="Open Sans Extrabold" panose="020B0606030504020204" pitchFamily="34" charset="0"/>
                <a:ea typeface="Open Sans Extrabold" panose="020B0606030504020204" pitchFamily="34" charset="0"/>
                <a:cs typeface="Open Sans Extrabold" panose="020B0606030504020204" pitchFamily="34" charset="0"/>
              </a:rPr>
              <a:t>nykytilanteeseen</a:t>
            </a:r>
          </a:p>
        </p:txBody>
      </p:sp>
      <p:graphicFrame>
        <p:nvGraphicFramePr>
          <p:cNvPr id="11" name="Taulukko 10">
            <a:extLst>
              <a:ext uri="{FF2B5EF4-FFF2-40B4-BE49-F238E27FC236}">
                <a16:creationId xmlns:a16="http://schemas.microsoft.com/office/drawing/2014/main" id="{2ABF6130-93CF-4A96-A540-849ACF411658}"/>
              </a:ext>
            </a:extLst>
          </p:cNvPr>
          <p:cNvGraphicFramePr>
            <a:graphicFrameLocks noGrp="1"/>
          </p:cNvGraphicFramePr>
          <p:nvPr>
            <p:extLst>
              <p:ext uri="{D42A27DB-BD31-4B8C-83A1-F6EECF244321}">
                <p14:modId xmlns:p14="http://schemas.microsoft.com/office/powerpoint/2010/main" val="3910333245"/>
              </p:ext>
            </p:extLst>
          </p:nvPr>
        </p:nvGraphicFramePr>
        <p:xfrm>
          <a:off x="7600189" y="45680"/>
          <a:ext cx="4534511" cy="1066800"/>
        </p:xfrm>
        <a:graphic>
          <a:graphicData uri="http://schemas.openxmlformats.org/drawingml/2006/table">
            <a:tbl>
              <a:tblPr firstRow="1" bandRow="1">
                <a:tableStyleId>{5940675A-B579-460E-94D1-54222C63F5DA}</a:tableStyleId>
              </a:tblPr>
              <a:tblGrid>
                <a:gridCol w="578534">
                  <a:extLst>
                    <a:ext uri="{9D8B030D-6E8A-4147-A177-3AD203B41FA5}">
                      <a16:colId xmlns:a16="http://schemas.microsoft.com/office/drawing/2014/main" val="2606222489"/>
                    </a:ext>
                  </a:extLst>
                </a:gridCol>
                <a:gridCol w="3955977">
                  <a:extLst>
                    <a:ext uri="{9D8B030D-6E8A-4147-A177-3AD203B41FA5}">
                      <a16:colId xmlns:a16="http://schemas.microsoft.com/office/drawing/2014/main" val="2111472638"/>
                    </a:ext>
                  </a:extLst>
                </a:gridCol>
              </a:tblGrid>
              <a:tr h="180000">
                <a:tc>
                  <a:txBody>
                    <a:bodyPr/>
                    <a:lstStyle/>
                    <a:p>
                      <a:pPr algn="ctr"/>
                      <a:r>
                        <a:rPr lang="fi-FI" sz="800" b="1"/>
                        <a:t>++</a:t>
                      </a:r>
                    </a:p>
                  </a:txBody>
                  <a:tcPr anchor="ctr">
                    <a:solidFill>
                      <a:schemeClr val="accent1">
                        <a:lumMod val="60000"/>
                        <a:lumOff val="40000"/>
                      </a:schemeClr>
                    </a:solidFill>
                  </a:tcPr>
                </a:tc>
                <a:tc>
                  <a:txBody>
                    <a:bodyPr/>
                    <a:lstStyle/>
                    <a:p>
                      <a:pPr algn="l"/>
                      <a:r>
                        <a:rPr lang="fi-FI" sz="800"/>
                        <a:t>Paranee merkittävästi nykytilaan verrattuna ja / tai täyttää asetetut tavoitteet</a:t>
                      </a:r>
                    </a:p>
                  </a:txBody>
                  <a:tcPr anchor="ctr"/>
                </a:tc>
                <a:extLst>
                  <a:ext uri="{0D108BD9-81ED-4DB2-BD59-A6C34878D82A}">
                    <a16:rowId xmlns:a16="http://schemas.microsoft.com/office/drawing/2014/main" val="1636898509"/>
                  </a:ext>
                </a:extLst>
              </a:tr>
              <a:tr h="180000">
                <a:tc>
                  <a:txBody>
                    <a:bodyPr/>
                    <a:lstStyle/>
                    <a:p>
                      <a:pPr algn="ctr"/>
                      <a:r>
                        <a:rPr lang="fi-FI" sz="800" b="1"/>
                        <a:t>+</a:t>
                      </a:r>
                    </a:p>
                  </a:txBody>
                  <a:tcPr anchor="ctr">
                    <a:solidFill>
                      <a:srgbClr val="D2D8C4"/>
                    </a:solidFill>
                  </a:tcPr>
                </a:tc>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fi-FI" sz="800"/>
                        <a:t>Paranee nykytilaan verrattuna ja / tai täyttää asetetut tavoitteet</a:t>
                      </a:r>
                    </a:p>
                  </a:txBody>
                  <a:tcPr anchor="ctr"/>
                </a:tc>
                <a:extLst>
                  <a:ext uri="{0D108BD9-81ED-4DB2-BD59-A6C34878D82A}">
                    <a16:rowId xmlns:a16="http://schemas.microsoft.com/office/drawing/2014/main" val="168412713"/>
                  </a:ext>
                </a:extLst>
              </a:tr>
              <a:tr h="180000">
                <a:tc>
                  <a:txBody>
                    <a:bodyPr/>
                    <a:lstStyle/>
                    <a:p>
                      <a:pPr algn="ctr"/>
                      <a:r>
                        <a:rPr lang="fi-FI" sz="800" b="1"/>
                        <a:t>0</a:t>
                      </a:r>
                    </a:p>
                  </a:txBody>
                  <a:tcPr anchor="ctr">
                    <a:solidFill>
                      <a:srgbClr val="E1E2E4"/>
                    </a:solidFill>
                  </a:tcPr>
                </a:tc>
                <a:tc>
                  <a:txBody>
                    <a:bodyPr/>
                    <a:lstStyle/>
                    <a:p>
                      <a:pPr algn="l"/>
                      <a:r>
                        <a:rPr lang="fi-FI" sz="800"/>
                        <a:t>Ei muutosta nykytilaan</a:t>
                      </a:r>
                    </a:p>
                  </a:txBody>
                  <a:tcPr anchor="ctr"/>
                </a:tc>
                <a:extLst>
                  <a:ext uri="{0D108BD9-81ED-4DB2-BD59-A6C34878D82A}">
                    <a16:rowId xmlns:a16="http://schemas.microsoft.com/office/drawing/2014/main" val="3395201168"/>
                  </a:ext>
                </a:extLst>
              </a:tr>
              <a:tr h="180000">
                <a:tc>
                  <a:txBody>
                    <a:bodyPr/>
                    <a:lstStyle/>
                    <a:p>
                      <a:pPr algn="ctr"/>
                      <a:r>
                        <a:rPr lang="fi-FI" sz="800" b="1"/>
                        <a:t>-</a:t>
                      </a:r>
                    </a:p>
                  </a:txBody>
                  <a:tcPr anchor="ctr">
                    <a:solidFill>
                      <a:srgbClr val="F2D7C1"/>
                    </a:solidFill>
                  </a:tcPr>
                </a:tc>
                <a:tc>
                  <a:txBody>
                    <a:bodyPr/>
                    <a:lstStyle/>
                    <a:p>
                      <a:pPr algn="l"/>
                      <a:r>
                        <a:rPr lang="fi-FI" sz="800"/>
                        <a:t>Heikkenee nykytilaan verrattuna</a:t>
                      </a:r>
                    </a:p>
                  </a:txBody>
                  <a:tcPr anchor="ctr"/>
                </a:tc>
                <a:extLst>
                  <a:ext uri="{0D108BD9-81ED-4DB2-BD59-A6C34878D82A}">
                    <a16:rowId xmlns:a16="http://schemas.microsoft.com/office/drawing/2014/main" val="1980926028"/>
                  </a:ext>
                </a:extLst>
              </a:tr>
              <a:tr h="180000">
                <a:tc>
                  <a:txBody>
                    <a:bodyPr/>
                    <a:lstStyle/>
                    <a:p>
                      <a:pPr algn="ctr"/>
                      <a:r>
                        <a:rPr lang="fi-FI" sz="800" b="1"/>
                        <a:t>--</a:t>
                      </a:r>
                    </a:p>
                  </a:txBody>
                  <a:tcPr anchor="ctr">
                    <a:solidFill>
                      <a:srgbClr val="FF5D5D"/>
                    </a:solidFill>
                  </a:tcPr>
                </a:tc>
                <a:tc>
                  <a:txBody>
                    <a:bodyPr/>
                    <a:lstStyle/>
                    <a:p>
                      <a:pPr algn="l"/>
                      <a:r>
                        <a:rPr lang="fi-FI" sz="800"/>
                        <a:t>Heikkenee merkittävästi nykytilaan verrattuna tai ei täytä asetettuja tavoitteita</a:t>
                      </a:r>
                    </a:p>
                  </a:txBody>
                  <a:tcPr anchor="ctr"/>
                </a:tc>
                <a:extLst>
                  <a:ext uri="{0D108BD9-81ED-4DB2-BD59-A6C34878D82A}">
                    <a16:rowId xmlns:a16="http://schemas.microsoft.com/office/drawing/2014/main" val="2927848211"/>
                  </a:ext>
                </a:extLst>
              </a:tr>
            </a:tbl>
          </a:graphicData>
        </a:graphic>
      </p:graphicFrame>
    </p:spTree>
    <p:extLst>
      <p:ext uri="{BB962C8B-B14F-4D97-AF65-F5344CB8AC3E}">
        <p14:creationId xmlns:p14="http://schemas.microsoft.com/office/powerpoint/2010/main" val="3259048369"/>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9F493-90E1-7338-6114-94D0A5C4C94D}"/>
              </a:ext>
            </a:extLst>
          </p:cNvPr>
          <p:cNvSpPr>
            <a:spLocks noGrp="1"/>
          </p:cNvSpPr>
          <p:nvPr>
            <p:ph type="title"/>
          </p:nvPr>
        </p:nvSpPr>
        <p:spPr/>
        <p:txBody>
          <a:bodyPr/>
          <a:lstStyle/>
          <a:p>
            <a:r>
              <a:rPr lang="en-US" err="1"/>
              <a:t>Palautteen</a:t>
            </a:r>
            <a:r>
              <a:rPr lang="en-US"/>
              <a:t> </a:t>
            </a:r>
            <a:r>
              <a:rPr lang="en-US" err="1"/>
              <a:t>antaminen</a:t>
            </a:r>
          </a:p>
        </p:txBody>
      </p:sp>
      <p:sp>
        <p:nvSpPr>
          <p:cNvPr id="7" name="TextBox 6">
            <a:extLst>
              <a:ext uri="{FF2B5EF4-FFF2-40B4-BE49-F238E27FC236}">
                <a16:creationId xmlns:a16="http://schemas.microsoft.com/office/drawing/2014/main" id="{CC7320E3-3F1F-AAFE-B76D-9FF96F732508}"/>
              </a:ext>
            </a:extLst>
          </p:cNvPr>
          <p:cNvSpPr txBox="1"/>
          <p:nvPr/>
        </p:nvSpPr>
        <p:spPr>
          <a:xfrm>
            <a:off x="710153" y="1959204"/>
            <a:ext cx="7480169"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363636"/>
                </a:solidFill>
                <a:latin typeface="Source Sans Pro"/>
                <a:ea typeface="Source Sans Pro"/>
              </a:rPr>
              <a:t>Kaavan </a:t>
            </a:r>
            <a:r>
              <a:rPr lang="en-US" b="1" err="1">
                <a:solidFill>
                  <a:srgbClr val="363636"/>
                </a:solidFill>
                <a:latin typeface="Source Sans Pro"/>
                <a:ea typeface="Source Sans Pro"/>
              </a:rPr>
              <a:t>valmisteluaineistosta</a:t>
            </a:r>
            <a:r>
              <a:rPr lang="en-US" b="1">
                <a:solidFill>
                  <a:srgbClr val="363636"/>
                </a:solidFill>
                <a:latin typeface="Source Sans Pro"/>
                <a:ea typeface="Source Sans Pro"/>
              </a:rPr>
              <a:t> on </a:t>
            </a:r>
            <a:r>
              <a:rPr lang="en-US" b="1" err="1">
                <a:solidFill>
                  <a:srgbClr val="363636"/>
                </a:solidFill>
                <a:latin typeface="Source Sans Pro"/>
                <a:ea typeface="Source Sans Pro"/>
              </a:rPr>
              <a:t>mahdollista</a:t>
            </a:r>
            <a:r>
              <a:rPr lang="en-US" b="1">
                <a:solidFill>
                  <a:srgbClr val="363636"/>
                </a:solidFill>
                <a:latin typeface="Source Sans Pro"/>
                <a:ea typeface="Source Sans Pro"/>
              </a:rPr>
              <a:t> </a:t>
            </a:r>
            <a:r>
              <a:rPr lang="en-US" b="1" err="1">
                <a:solidFill>
                  <a:srgbClr val="363636"/>
                </a:solidFill>
                <a:latin typeface="Source Sans Pro"/>
                <a:ea typeface="Source Sans Pro"/>
              </a:rPr>
              <a:t>jättää</a:t>
            </a:r>
            <a:r>
              <a:rPr lang="en-US" b="1">
                <a:solidFill>
                  <a:srgbClr val="363636"/>
                </a:solidFill>
                <a:latin typeface="Source Sans Pro"/>
                <a:ea typeface="Source Sans Pro"/>
              </a:rPr>
              <a:t> </a:t>
            </a:r>
            <a:r>
              <a:rPr lang="en-US" b="1" err="1">
                <a:solidFill>
                  <a:srgbClr val="363636"/>
                </a:solidFill>
                <a:latin typeface="Source Sans Pro"/>
                <a:ea typeface="Source Sans Pro"/>
              </a:rPr>
              <a:t>mielipiteitä</a:t>
            </a:r>
            <a:r>
              <a:rPr lang="en-US" b="1">
                <a:solidFill>
                  <a:srgbClr val="363636"/>
                </a:solidFill>
                <a:latin typeface="Source Sans Pro"/>
                <a:ea typeface="Source Sans Pro"/>
              </a:rPr>
              <a:t> </a:t>
            </a:r>
            <a:r>
              <a:rPr lang="en-US" b="1" err="1">
                <a:solidFill>
                  <a:srgbClr val="363636"/>
                </a:solidFill>
                <a:latin typeface="Source Sans Pro"/>
                <a:ea typeface="Source Sans Pro"/>
              </a:rPr>
              <a:t>nähtävilläolon</a:t>
            </a:r>
            <a:r>
              <a:rPr lang="en-US" b="1">
                <a:solidFill>
                  <a:srgbClr val="363636"/>
                </a:solidFill>
                <a:latin typeface="Source Sans Pro"/>
                <a:ea typeface="Source Sans Pro"/>
              </a:rPr>
              <a:t> </a:t>
            </a:r>
            <a:r>
              <a:rPr lang="en-US" b="1" err="1">
                <a:solidFill>
                  <a:srgbClr val="363636"/>
                </a:solidFill>
                <a:latin typeface="Source Sans Pro"/>
                <a:ea typeface="Source Sans Pro"/>
              </a:rPr>
              <a:t>aikana</a:t>
            </a:r>
            <a:r>
              <a:rPr lang="en-US" b="1">
                <a:solidFill>
                  <a:srgbClr val="363636"/>
                </a:solidFill>
                <a:latin typeface="Source Sans Pro"/>
                <a:ea typeface="Source Sans Pro"/>
              </a:rPr>
              <a:t>.</a:t>
            </a:r>
            <a:endParaRPr lang="en-US" b="1">
              <a:solidFill>
                <a:srgbClr val="3F3F42"/>
              </a:solidFill>
              <a:latin typeface="Sweco Sans"/>
              <a:ea typeface="Source Sans Pro"/>
            </a:endParaRPr>
          </a:p>
          <a:p>
            <a:endParaRPr lang="en-US">
              <a:solidFill>
                <a:srgbClr val="363636"/>
              </a:solidFill>
              <a:latin typeface="Source Sans Pro"/>
              <a:ea typeface="Source Sans Pro"/>
            </a:endParaRPr>
          </a:p>
          <a:p>
            <a:r>
              <a:rPr lang="en-US" err="1">
                <a:solidFill>
                  <a:srgbClr val="363636"/>
                </a:solidFill>
                <a:latin typeface="Source Sans Pro"/>
                <a:ea typeface="Source Sans Pro"/>
              </a:rPr>
              <a:t>Mahdolliset</a:t>
            </a:r>
            <a:r>
              <a:rPr lang="en-US">
                <a:solidFill>
                  <a:srgbClr val="363636"/>
                </a:solidFill>
                <a:latin typeface="Source Sans Pro"/>
                <a:ea typeface="Source Sans Pro"/>
              </a:rPr>
              <a:t> </a:t>
            </a:r>
            <a:r>
              <a:rPr lang="en-US" err="1">
                <a:solidFill>
                  <a:srgbClr val="363636"/>
                </a:solidFill>
                <a:latin typeface="Source Sans Pro"/>
                <a:ea typeface="Source Sans Pro"/>
              </a:rPr>
              <a:t>mielipiteet</a:t>
            </a:r>
            <a:r>
              <a:rPr lang="en-US">
                <a:solidFill>
                  <a:srgbClr val="363636"/>
                </a:solidFill>
                <a:latin typeface="Source Sans Pro"/>
                <a:ea typeface="Source Sans Pro"/>
              </a:rPr>
              <a:t> </a:t>
            </a:r>
            <a:r>
              <a:rPr lang="en-US" err="1">
                <a:solidFill>
                  <a:srgbClr val="363636"/>
                </a:solidFill>
                <a:latin typeface="Source Sans Pro"/>
                <a:ea typeface="Source Sans Pro"/>
              </a:rPr>
              <a:t>pyydetään</a:t>
            </a:r>
            <a:r>
              <a:rPr lang="en-US">
                <a:solidFill>
                  <a:srgbClr val="363636"/>
                </a:solidFill>
                <a:latin typeface="Source Sans Pro"/>
                <a:ea typeface="Source Sans Pro"/>
              </a:rPr>
              <a:t> </a:t>
            </a:r>
            <a:r>
              <a:rPr lang="en-US" err="1">
                <a:solidFill>
                  <a:srgbClr val="363636"/>
                </a:solidFill>
                <a:latin typeface="Source Sans Pro"/>
                <a:ea typeface="Source Sans Pro"/>
              </a:rPr>
              <a:t>toimittamaan</a:t>
            </a:r>
            <a:r>
              <a:rPr lang="en-US">
                <a:solidFill>
                  <a:srgbClr val="363636"/>
                </a:solidFill>
                <a:latin typeface="Source Sans Pro"/>
                <a:ea typeface="Source Sans Pro"/>
              </a:rPr>
              <a:t> </a:t>
            </a:r>
            <a:r>
              <a:rPr lang="en-US" b="1">
                <a:solidFill>
                  <a:srgbClr val="363636"/>
                </a:solidFill>
                <a:latin typeface="Source Sans Pro"/>
                <a:ea typeface="Source Sans Pro"/>
              </a:rPr>
              <a:t>26.5.2022 </a:t>
            </a:r>
            <a:r>
              <a:rPr lang="en-US" b="1" err="1">
                <a:solidFill>
                  <a:srgbClr val="363636"/>
                </a:solidFill>
                <a:latin typeface="Source Sans Pro"/>
                <a:ea typeface="Source Sans Pro"/>
              </a:rPr>
              <a:t>mennessä</a:t>
            </a:r>
            <a:r>
              <a:rPr lang="en-US">
                <a:solidFill>
                  <a:srgbClr val="363636"/>
                </a:solidFill>
                <a:latin typeface="Source Sans Pro"/>
                <a:ea typeface="Source Sans Pro"/>
              </a:rPr>
              <a:t> </a:t>
            </a:r>
            <a:r>
              <a:rPr lang="en-US" err="1">
                <a:solidFill>
                  <a:srgbClr val="363636"/>
                </a:solidFill>
                <a:latin typeface="Source Sans Pro"/>
                <a:ea typeface="Source Sans Pro"/>
              </a:rPr>
              <a:t>sähköisesti</a:t>
            </a:r>
            <a:r>
              <a:rPr lang="en-US">
                <a:solidFill>
                  <a:srgbClr val="363636"/>
                </a:solidFill>
                <a:latin typeface="Source Sans Pro"/>
                <a:ea typeface="Source Sans Pro"/>
              </a:rPr>
              <a:t> </a:t>
            </a:r>
            <a:r>
              <a:rPr lang="en-US" err="1">
                <a:solidFill>
                  <a:srgbClr val="363636"/>
                </a:solidFill>
                <a:latin typeface="Source Sans Pro"/>
                <a:ea typeface="Source Sans Pro"/>
              </a:rPr>
              <a:t>osoitteeseen</a:t>
            </a:r>
            <a:r>
              <a:rPr lang="en-US">
                <a:solidFill>
                  <a:srgbClr val="363636"/>
                </a:solidFill>
                <a:latin typeface="Source Sans Pro"/>
                <a:ea typeface="Source Sans Pro"/>
              </a:rPr>
              <a:t> </a:t>
            </a:r>
            <a:r>
              <a:rPr lang="en-US">
                <a:solidFill>
                  <a:srgbClr val="0056BA"/>
                </a:solidFill>
                <a:latin typeface="Source Sans Pro"/>
                <a:ea typeface="Source Sans Pro"/>
                <a:hlinkClick r:id="rId2"/>
              </a:rPr>
              <a:t>kirjaamo@ii.fi</a:t>
            </a:r>
            <a:r>
              <a:rPr lang="en-US">
                <a:solidFill>
                  <a:srgbClr val="363636"/>
                </a:solidFill>
                <a:latin typeface="Source Sans Pro"/>
                <a:ea typeface="Source Sans Pro"/>
              </a:rPr>
              <a:t> tai </a:t>
            </a:r>
            <a:r>
              <a:rPr lang="en-US" err="1">
                <a:solidFill>
                  <a:srgbClr val="363636"/>
                </a:solidFill>
                <a:latin typeface="Source Sans Pro"/>
                <a:ea typeface="Source Sans Pro"/>
              </a:rPr>
              <a:t>kirjallisesti</a:t>
            </a:r>
            <a:r>
              <a:rPr lang="en-US">
                <a:solidFill>
                  <a:srgbClr val="363636"/>
                </a:solidFill>
                <a:latin typeface="Source Sans Pro"/>
                <a:ea typeface="Source Sans Pro"/>
              </a:rPr>
              <a:t> </a:t>
            </a:r>
            <a:r>
              <a:rPr lang="en-US" err="1">
                <a:solidFill>
                  <a:srgbClr val="363636"/>
                </a:solidFill>
                <a:latin typeface="Source Sans Pro"/>
                <a:ea typeface="Source Sans Pro"/>
              </a:rPr>
              <a:t>osoitteeseen</a:t>
            </a:r>
            <a:r>
              <a:rPr lang="en-US">
                <a:solidFill>
                  <a:srgbClr val="363636"/>
                </a:solidFill>
                <a:latin typeface="Source Sans Pro"/>
                <a:ea typeface="Source Sans Pro"/>
              </a:rPr>
              <a:t> Iin </a:t>
            </a:r>
            <a:r>
              <a:rPr lang="en-US" err="1">
                <a:solidFill>
                  <a:srgbClr val="363636"/>
                </a:solidFill>
                <a:latin typeface="Source Sans Pro"/>
                <a:ea typeface="Source Sans Pro"/>
              </a:rPr>
              <a:t>kunta</a:t>
            </a:r>
            <a:r>
              <a:rPr lang="en-US">
                <a:solidFill>
                  <a:srgbClr val="363636"/>
                </a:solidFill>
                <a:latin typeface="Source Sans Pro"/>
                <a:ea typeface="Source Sans Pro"/>
              </a:rPr>
              <a:t>, PL 24, 91101 Ii.</a:t>
            </a:r>
            <a:endParaRPr lang="en-US">
              <a:solidFill>
                <a:srgbClr val="3F3F42"/>
              </a:solidFill>
              <a:latin typeface="Sweco Sans"/>
              <a:ea typeface="Source Sans Pro"/>
            </a:endParaRPr>
          </a:p>
          <a:p>
            <a:endParaRPr lang="en-US">
              <a:solidFill>
                <a:srgbClr val="363636"/>
              </a:solidFill>
              <a:latin typeface="Source Sans Pro"/>
              <a:ea typeface="Source Sans Pro"/>
            </a:endParaRPr>
          </a:p>
          <a:p>
            <a:r>
              <a:rPr lang="en-US" err="1">
                <a:solidFill>
                  <a:srgbClr val="363636"/>
                </a:solidFill>
                <a:latin typeface="Source Sans Pro"/>
                <a:ea typeface="Source Sans Pro"/>
              </a:rPr>
              <a:t>Aineisto</a:t>
            </a:r>
            <a:r>
              <a:rPr lang="en-US">
                <a:solidFill>
                  <a:srgbClr val="363636"/>
                </a:solidFill>
                <a:latin typeface="Source Sans Pro"/>
                <a:ea typeface="Source Sans Pro"/>
              </a:rPr>
              <a:t> </a:t>
            </a:r>
            <a:r>
              <a:rPr lang="en-US" err="1">
                <a:solidFill>
                  <a:srgbClr val="363636"/>
                </a:solidFill>
                <a:latin typeface="Source Sans Pro"/>
                <a:ea typeface="Source Sans Pro"/>
              </a:rPr>
              <a:t>tulee</a:t>
            </a:r>
            <a:r>
              <a:rPr lang="en-US">
                <a:solidFill>
                  <a:srgbClr val="363636"/>
                </a:solidFill>
                <a:latin typeface="Source Sans Pro"/>
                <a:ea typeface="Source Sans Pro"/>
              </a:rPr>
              <a:t> </a:t>
            </a:r>
            <a:r>
              <a:rPr lang="en-US" err="1">
                <a:solidFill>
                  <a:srgbClr val="363636"/>
                </a:solidFill>
                <a:latin typeface="Source Sans Pro"/>
                <a:ea typeface="Source Sans Pro"/>
              </a:rPr>
              <a:t>vielä</a:t>
            </a:r>
            <a:r>
              <a:rPr lang="en-US">
                <a:solidFill>
                  <a:srgbClr val="363636"/>
                </a:solidFill>
                <a:latin typeface="Source Sans Pro"/>
                <a:ea typeface="Source Sans Pro"/>
              </a:rPr>
              <a:t> </a:t>
            </a:r>
            <a:r>
              <a:rPr lang="en-US" err="1">
                <a:solidFill>
                  <a:srgbClr val="363636"/>
                </a:solidFill>
                <a:latin typeface="Source Sans Pro"/>
                <a:ea typeface="Source Sans Pro"/>
              </a:rPr>
              <a:t>uudelleen</a:t>
            </a:r>
            <a:r>
              <a:rPr lang="en-US">
                <a:solidFill>
                  <a:srgbClr val="363636"/>
                </a:solidFill>
                <a:latin typeface="Source Sans Pro"/>
                <a:ea typeface="Source Sans Pro"/>
              </a:rPr>
              <a:t> </a:t>
            </a:r>
            <a:r>
              <a:rPr lang="en-US" err="1">
                <a:solidFill>
                  <a:srgbClr val="363636"/>
                </a:solidFill>
                <a:latin typeface="Source Sans Pro"/>
                <a:ea typeface="Source Sans Pro"/>
              </a:rPr>
              <a:t>nähtäville</a:t>
            </a:r>
            <a:r>
              <a:rPr lang="en-US">
                <a:solidFill>
                  <a:srgbClr val="363636"/>
                </a:solidFill>
                <a:latin typeface="Source Sans Pro"/>
                <a:ea typeface="Source Sans Pro"/>
              </a:rPr>
              <a:t> </a:t>
            </a:r>
            <a:r>
              <a:rPr lang="en-US" err="1">
                <a:solidFill>
                  <a:srgbClr val="363636"/>
                </a:solidFill>
                <a:latin typeface="Source Sans Pro"/>
                <a:ea typeface="Source Sans Pro"/>
              </a:rPr>
              <a:t>kaavaehdotusvaiheessa</a:t>
            </a:r>
            <a:r>
              <a:rPr lang="en-US">
                <a:solidFill>
                  <a:srgbClr val="363636"/>
                </a:solidFill>
                <a:latin typeface="Source Sans Pro"/>
                <a:ea typeface="Source Sans Pro"/>
              </a:rPr>
              <a:t>. </a:t>
            </a:r>
            <a:r>
              <a:rPr lang="en-US" err="1">
                <a:solidFill>
                  <a:srgbClr val="363636"/>
                </a:solidFill>
                <a:latin typeface="Source Sans Pro"/>
                <a:ea typeface="Source Sans Pro"/>
              </a:rPr>
              <a:t>Tällöin</a:t>
            </a:r>
            <a:r>
              <a:rPr lang="en-US">
                <a:solidFill>
                  <a:srgbClr val="363636"/>
                </a:solidFill>
                <a:latin typeface="Source Sans Pro"/>
                <a:ea typeface="Source Sans Pro"/>
              </a:rPr>
              <a:t> on </a:t>
            </a:r>
            <a:r>
              <a:rPr lang="en-US" err="1">
                <a:solidFill>
                  <a:srgbClr val="363636"/>
                </a:solidFill>
                <a:latin typeface="Source Sans Pro"/>
                <a:ea typeface="Source Sans Pro"/>
              </a:rPr>
              <a:t>mahdollista</a:t>
            </a:r>
            <a:r>
              <a:rPr lang="en-US">
                <a:solidFill>
                  <a:srgbClr val="363636"/>
                </a:solidFill>
                <a:latin typeface="Source Sans Pro"/>
                <a:ea typeface="Source Sans Pro"/>
              </a:rPr>
              <a:t> </a:t>
            </a:r>
            <a:r>
              <a:rPr lang="en-US" err="1">
                <a:solidFill>
                  <a:srgbClr val="363636"/>
                </a:solidFill>
                <a:latin typeface="Source Sans Pro"/>
                <a:ea typeface="Source Sans Pro"/>
              </a:rPr>
              <a:t>jättää</a:t>
            </a:r>
            <a:r>
              <a:rPr lang="en-US">
                <a:solidFill>
                  <a:srgbClr val="363636"/>
                </a:solidFill>
                <a:latin typeface="Source Sans Pro"/>
                <a:ea typeface="Source Sans Pro"/>
              </a:rPr>
              <a:t> </a:t>
            </a:r>
            <a:r>
              <a:rPr lang="en-US" err="1">
                <a:solidFill>
                  <a:srgbClr val="363636"/>
                </a:solidFill>
                <a:latin typeface="Source Sans Pro"/>
                <a:ea typeface="Source Sans Pro"/>
              </a:rPr>
              <a:t>muistutuksia</a:t>
            </a:r>
            <a:r>
              <a:rPr lang="en-US">
                <a:solidFill>
                  <a:srgbClr val="363636"/>
                </a:solidFill>
                <a:latin typeface="Source Sans Pro"/>
                <a:ea typeface="Source Sans Pro"/>
              </a:rPr>
              <a:t>. </a:t>
            </a:r>
          </a:p>
        </p:txBody>
      </p:sp>
      <p:pic>
        <p:nvPicPr>
          <p:cNvPr id="8" name="Kuva 7">
            <a:extLst>
              <a:ext uri="{FF2B5EF4-FFF2-40B4-BE49-F238E27FC236}">
                <a16:creationId xmlns:a16="http://schemas.microsoft.com/office/drawing/2014/main" id="{23935999-8227-47AE-8C1F-568411458E69}"/>
              </a:ext>
            </a:extLst>
          </p:cNvPr>
          <p:cNvPicPr>
            <a:picLocks noChangeAspect="1"/>
          </p:cNvPicPr>
          <p:nvPr/>
        </p:nvPicPr>
        <p:blipFill>
          <a:blip r:embed="rId3"/>
          <a:stretch>
            <a:fillRect/>
          </a:stretch>
        </p:blipFill>
        <p:spPr>
          <a:xfrm>
            <a:off x="466974" y="240348"/>
            <a:ext cx="1604422" cy="412865"/>
          </a:xfrm>
          <a:prstGeom prst="rect">
            <a:avLst/>
          </a:prstGeom>
        </p:spPr>
      </p:pic>
    </p:spTree>
    <p:extLst>
      <p:ext uri="{BB962C8B-B14F-4D97-AF65-F5344CB8AC3E}">
        <p14:creationId xmlns:p14="http://schemas.microsoft.com/office/powerpoint/2010/main" val="18436448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74175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1279D0B-4F97-4160-8BC2-E8735BEE5DA1}"/>
              </a:ext>
            </a:extLst>
          </p:cNvPr>
          <p:cNvSpPr>
            <a:spLocks noGrp="1"/>
          </p:cNvSpPr>
          <p:nvPr>
            <p:ph type="title"/>
          </p:nvPr>
        </p:nvSpPr>
        <p:spPr/>
        <p:txBody>
          <a:bodyPr/>
          <a:lstStyle/>
          <a:p>
            <a:r>
              <a:rPr lang="fi-FI"/>
              <a:t>Esittelijät</a:t>
            </a:r>
          </a:p>
        </p:txBody>
      </p:sp>
      <p:sp>
        <p:nvSpPr>
          <p:cNvPr id="3" name="Sisällön paikkamerkki 2">
            <a:extLst>
              <a:ext uri="{FF2B5EF4-FFF2-40B4-BE49-F238E27FC236}">
                <a16:creationId xmlns:a16="http://schemas.microsoft.com/office/drawing/2014/main" id="{DC710AD9-0187-4F47-8BDD-8D93D113FA22}"/>
              </a:ext>
            </a:extLst>
          </p:cNvPr>
          <p:cNvSpPr>
            <a:spLocks noGrp="1"/>
          </p:cNvSpPr>
          <p:nvPr>
            <p:ph idx="1"/>
          </p:nvPr>
        </p:nvSpPr>
        <p:spPr/>
        <p:txBody>
          <a:bodyPr>
            <a:normAutofit/>
          </a:bodyPr>
          <a:lstStyle/>
          <a:p>
            <a:pPr marL="0" indent="0">
              <a:buNone/>
            </a:pPr>
            <a:r>
              <a:rPr lang="fi-FI" sz="1200" b="1"/>
              <a:t>Iin kunta</a:t>
            </a:r>
            <a:r>
              <a:rPr lang="fi-FI" sz="1200"/>
              <a:t>			Ville Keränen			Elina Nissinen</a:t>
            </a:r>
          </a:p>
          <a:p>
            <a:pPr marL="0" indent="0">
              <a:buNone/>
            </a:pPr>
            <a:r>
              <a:rPr lang="fi-FI" sz="1200"/>
              <a:t>			tekninen johtaja		vt. maankäytön asiantuntija</a:t>
            </a:r>
          </a:p>
          <a:p>
            <a:pPr marL="0" indent="0">
              <a:buNone/>
            </a:pPr>
            <a:endParaRPr lang="fi-FI" sz="1200"/>
          </a:p>
          <a:p>
            <a:pPr marL="0" indent="0">
              <a:buNone/>
            </a:pPr>
            <a:r>
              <a:rPr lang="fi-FI" sz="1200" b="1" err="1"/>
              <a:t>Sweco</a:t>
            </a:r>
            <a:r>
              <a:rPr lang="fi-FI" sz="1200"/>
              <a:t>			Jaakko Raunio		Johanna Lehto</a:t>
            </a:r>
          </a:p>
          <a:p>
            <a:pPr marL="0" indent="0">
              <a:buNone/>
            </a:pPr>
            <a:r>
              <a:rPr lang="fi-FI" sz="1200"/>
              <a:t>			kaavasuunnittelija		suunnittelija</a:t>
            </a:r>
          </a:p>
          <a:p>
            <a:pPr marL="0" indent="0">
              <a:buNone/>
            </a:pPr>
            <a:endParaRPr lang="fi-FI" sz="1200"/>
          </a:p>
          <a:p>
            <a:pPr marL="0" indent="0">
              <a:buNone/>
            </a:pPr>
            <a:r>
              <a:rPr lang="fi-FI" sz="1200" b="1"/>
              <a:t>Pohjois-Pohjanmaan elinkeino-,	</a:t>
            </a:r>
            <a:r>
              <a:rPr lang="fi-FI" sz="1200"/>
              <a:t>Päivi Hautaniemi</a:t>
            </a:r>
            <a:endParaRPr lang="fi-FI" sz="1200" b="1"/>
          </a:p>
          <a:p>
            <a:pPr marL="0" indent="0">
              <a:buNone/>
            </a:pPr>
            <a:r>
              <a:rPr lang="fi-FI" sz="1200" b="1"/>
              <a:t>liikenne- ja ympäristökeskus	</a:t>
            </a:r>
            <a:r>
              <a:rPr lang="fi-FI" sz="1200"/>
              <a:t>liikennejärjestelmävastaava</a:t>
            </a:r>
          </a:p>
          <a:p>
            <a:pPr marL="0" indent="0">
              <a:buNone/>
            </a:pPr>
            <a:r>
              <a:rPr lang="fi-FI" sz="1200"/>
              <a:t>			</a:t>
            </a:r>
          </a:p>
          <a:p>
            <a:pPr marL="0" indent="0">
              <a:buNone/>
            </a:pPr>
            <a:r>
              <a:rPr lang="fi-FI" sz="1200" b="1"/>
              <a:t>Destia</a:t>
            </a:r>
            <a:r>
              <a:rPr lang="fi-FI" sz="1200"/>
              <a:t>			Mika Tuominen		Antti Heininen			Sini Yli-Öyrä</a:t>
            </a:r>
          </a:p>
          <a:p>
            <a:pPr marL="0" indent="0">
              <a:buNone/>
            </a:pPr>
            <a:r>
              <a:rPr lang="fi-FI" sz="1200"/>
              <a:t>			yksikön päällikkö,		suunnittelija			Ympäristöasiantuntija</a:t>
            </a:r>
          </a:p>
          <a:p>
            <a:pPr marL="0" indent="0">
              <a:buNone/>
            </a:pPr>
            <a:r>
              <a:rPr lang="fi-FI" sz="1200"/>
              <a:t>			liikenne ja kaupunkiympäristö</a:t>
            </a:r>
          </a:p>
          <a:p>
            <a:pPr marL="0" indent="0">
              <a:buNone/>
            </a:pPr>
            <a:endParaRPr lang="fi-FI" sz="1200"/>
          </a:p>
          <a:p>
            <a:pPr marL="0" indent="0">
              <a:buNone/>
            </a:pPr>
            <a:r>
              <a:rPr lang="fi-FI" sz="1200"/>
              <a:t>	</a:t>
            </a:r>
          </a:p>
        </p:txBody>
      </p:sp>
      <p:pic>
        <p:nvPicPr>
          <p:cNvPr id="7" name="Kuva 6">
            <a:extLst>
              <a:ext uri="{FF2B5EF4-FFF2-40B4-BE49-F238E27FC236}">
                <a16:creationId xmlns:a16="http://schemas.microsoft.com/office/drawing/2014/main" id="{34FB8367-5B1D-42E0-9AE2-8636A2DD3B95}"/>
              </a:ext>
            </a:extLst>
          </p:cNvPr>
          <p:cNvPicPr>
            <a:picLocks noChangeAspect="1"/>
          </p:cNvPicPr>
          <p:nvPr/>
        </p:nvPicPr>
        <p:blipFill>
          <a:blip r:embed="rId2"/>
          <a:stretch>
            <a:fillRect/>
          </a:stretch>
        </p:blipFill>
        <p:spPr>
          <a:xfrm>
            <a:off x="466974" y="221687"/>
            <a:ext cx="1604422" cy="412865"/>
          </a:xfrm>
          <a:prstGeom prst="rect">
            <a:avLst/>
          </a:prstGeom>
        </p:spPr>
      </p:pic>
    </p:spTree>
    <p:extLst>
      <p:ext uri="{BB962C8B-B14F-4D97-AF65-F5344CB8AC3E}">
        <p14:creationId xmlns:p14="http://schemas.microsoft.com/office/powerpoint/2010/main" val="41591815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974" y="524666"/>
            <a:ext cx="11124701" cy="887413"/>
          </a:xfrm>
        </p:spPr>
        <p:txBody>
          <a:bodyPr anchor="ctr">
            <a:normAutofit/>
          </a:bodyPr>
          <a:lstStyle/>
          <a:p>
            <a:r>
              <a:rPr lang="fi-FI" sz="2800"/>
              <a:t>Yleiskaavan tavoitteet</a:t>
            </a:r>
          </a:p>
        </p:txBody>
      </p:sp>
      <p:sp>
        <p:nvSpPr>
          <p:cNvPr id="13" name="Sisällön paikkamerkki 2">
            <a:extLst>
              <a:ext uri="{FF2B5EF4-FFF2-40B4-BE49-F238E27FC236}">
                <a16:creationId xmlns:a16="http://schemas.microsoft.com/office/drawing/2014/main" id="{2448473E-BE74-4D45-AA80-34B03F615A34}"/>
              </a:ext>
            </a:extLst>
          </p:cNvPr>
          <p:cNvSpPr txBox="1">
            <a:spLocks/>
          </p:cNvSpPr>
          <p:nvPr/>
        </p:nvSpPr>
        <p:spPr>
          <a:xfrm>
            <a:off x="466972" y="1197620"/>
            <a:ext cx="11124702" cy="4462760"/>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3pPr>
            <a:lvl4pPr marL="86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9pPr>
          </a:lstStyle>
          <a:p>
            <a:pPr marL="0" indent="0">
              <a:buNone/>
            </a:pPr>
            <a:r>
              <a:rPr lang="fi-FI" sz="1600" b="1">
                <a:solidFill>
                  <a:srgbClr val="0070C0"/>
                </a:solidFill>
              </a:rPr>
              <a:t>Kaavan tavoitteena on määrittää kunnan maankäytön kehittämisen suuret linjat</a:t>
            </a:r>
            <a:r>
              <a:rPr lang="fi-FI" sz="1600">
                <a:solidFill>
                  <a:srgbClr val="0070C0"/>
                </a:solidFill>
              </a:rPr>
              <a:t>. </a:t>
            </a:r>
            <a:r>
              <a:rPr lang="fi-FI" sz="1600">
                <a:solidFill>
                  <a:srgbClr val="363636"/>
                </a:solidFill>
              </a:rPr>
              <a:t>Strateginen yleiskaava täydentää vuonna 2018 hyväksyttyä Iin kuntastrategiaa 2018-2025 (ja parhaillaan laadittavana olevaa uutta kuntastrategiaa). </a:t>
            </a:r>
          </a:p>
          <a:p>
            <a:pPr marL="0" indent="0">
              <a:buNone/>
            </a:pPr>
            <a:r>
              <a:rPr lang="fi-FI" sz="1600" b="1">
                <a:solidFill>
                  <a:srgbClr val="0070C0"/>
                </a:solidFill>
              </a:rPr>
              <a:t>Yleiskaavan tavoitevuosi on 2040</a:t>
            </a:r>
            <a:r>
              <a:rPr lang="fi-FI" sz="1600">
                <a:solidFill>
                  <a:srgbClr val="0070C0"/>
                </a:solidFill>
              </a:rPr>
              <a:t>. </a:t>
            </a:r>
            <a:r>
              <a:rPr lang="fi-FI" sz="1600">
                <a:solidFill>
                  <a:srgbClr val="363636"/>
                </a:solidFill>
              </a:rPr>
              <a:t>Yleiskaava ei kumoa kunnan alueella voimassa olevia kaavoja (pois lukien Uuden Oulun yleiskaava), vaan strategista yleiskaavaa tulkitaan yhdessä osayleiskaavojen kanssa. Yleiskaava tulee ottaa huomioon osayleiskaavoja muutettaessa tai uudistettaessa.</a:t>
            </a:r>
          </a:p>
          <a:p>
            <a:pPr marL="0" indent="0">
              <a:buNone/>
            </a:pPr>
            <a:r>
              <a:rPr lang="fi-FI" sz="1600" b="1">
                <a:solidFill>
                  <a:srgbClr val="0070C0"/>
                </a:solidFill>
              </a:rPr>
              <a:t>Kaavaa tarkistetaan tarvittaessa valtuustokausittain. </a:t>
            </a:r>
          </a:p>
          <a:p>
            <a:pPr marL="0" indent="0">
              <a:buNone/>
            </a:pPr>
            <a:r>
              <a:rPr lang="fi-FI" sz="1600" b="1"/>
              <a:t>Kaavassa tarkasteltavia teemoja: </a:t>
            </a:r>
          </a:p>
          <a:p>
            <a:pPr marL="0" indent="0">
              <a:buNone/>
            </a:pPr>
            <a:endParaRPr lang="fi-FI" sz="1600" b="1"/>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pic>
        <p:nvPicPr>
          <p:cNvPr id="3" name="Kuva 2">
            <a:extLst>
              <a:ext uri="{FF2B5EF4-FFF2-40B4-BE49-F238E27FC236}">
                <a16:creationId xmlns:a16="http://schemas.microsoft.com/office/drawing/2014/main" id="{E9C217FC-536E-4885-91F4-74EE2D2F32FC}"/>
              </a:ext>
            </a:extLst>
          </p:cNvPr>
          <p:cNvPicPr>
            <a:picLocks noChangeAspect="1"/>
          </p:cNvPicPr>
          <p:nvPr/>
        </p:nvPicPr>
        <p:blipFill>
          <a:blip r:embed="rId3"/>
          <a:stretch>
            <a:fillRect/>
          </a:stretch>
        </p:blipFill>
        <p:spPr>
          <a:xfrm>
            <a:off x="466972" y="3141068"/>
            <a:ext cx="8396684" cy="3716932"/>
          </a:xfrm>
          <a:prstGeom prst="rect">
            <a:avLst/>
          </a:prstGeom>
        </p:spPr>
      </p:pic>
      <p:pic>
        <p:nvPicPr>
          <p:cNvPr id="5" name="Kuva 4">
            <a:extLst>
              <a:ext uri="{FF2B5EF4-FFF2-40B4-BE49-F238E27FC236}">
                <a16:creationId xmlns:a16="http://schemas.microsoft.com/office/drawing/2014/main" id="{A1756AD3-0C0E-4A43-AE93-6F37AC128256}"/>
              </a:ext>
            </a:extLst>
          </p:cNvPr>
          <p:cNvPicPr>
            <a:picLocks noChangeAspect="1"/>
          </p:cNvPicPr>
          <p:nvPr/>
        </p:nvPicPr>
        <p:blipFill>
          <a:blip r:embed="rId4"/>
          <a:stretch>
            <a:fillRect/>
          </a:stretch>
        </p:blipFill>
        <p:spPr>
          <a:xfrm>
            <a:off x="8925789" y="3141068"/>
            <a:ext cx="3066597" cy="3029283"/>
          </a:xfrm>
          <a:prstGeom prst="rect">
            <a:avLst/>
          </a:prstGeom>
        </p:spPr>
      </p:pic>
      <p:sp>
        <p:nvSpPr>
          <p:cNvPr id="6" name="Tekstiruutu 5">
            <a:extLst>
              <a:ext uri="{FF2B5EF4-FFF2-40B4-BE49-F238E27FC236}">
                <a16:creationId xmlns:a16="http://schemas.microsoft.com/office/drawing/2014/main" id="{F26F2CBD-FFE3-417C-93D7-6131A4D613D1}"/>
              </a:ext>
            </a:extLst>
          </p:cNvPr>
          <p:cNvSpPr txBox="1"/>
          <p:nvPr/>
        </p:nvSpPr>
        <p:spPr>
          <a:xfrm>
            <a:off x="8863656" y="6209222"/>
            <a:ext cx="2657959" cy="461665"/>
          </a:xfrm>
          <a:prstGeom prst="rect">
            <a:avLst/>
          </a:prstGeom>
          <a:noFill/>
        </p:spPr>
        <p:txBody>
          <a:bodyPr wrap="square" rtlCol="0">
            <a:spAutoFit/>
          </a:bodyPr>
          <a:lstStyle/>
          <a:p>
            <a:r>
              <a:rPr lang="fi-FI" sz="1200" i="1"/>
              <a:t>Iin alueen voimassa olevat yleis- ja asemakaavat. </a:t>
            </a:r>
          </a:p>
        </p:txBody>
      </p:sp>
    </p:spTree>
    <p:extLst>
      <p:ext uri="{BB962C8B-B14F-4D97-AF65-F5344CB8AC3E}">
        <p14:creationId xmlns:p14="http://schemas.microsoft.com/office/powerpoint/2010/main" val="1317628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649" y="758287"/>
            <a:ext cx="11124701" cy="887413"/>
          </a:xfrm>
        </p:spPr>
        <p:txBody>
          <a:bodyPr anchor="ctr">
            <a:normAutofit/>
          </a:bodyPr>
          <a:lstStyle/>
          <a:p>
            <a:r>
              <a:rPr lang="fi-FI" sz="2800"/>
              <a:t>Kaavajärjestelmä</a:t>
            </a: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pic>
        <p:nvPicPr>
          <p:cNvPr id="9" name="Picture 9" descr="Diagram&#10;&#10;Description automatically generated">
            <a:extLst>
              <a:ext uri="{FF2B5EF4-FFF2-40B4-BE49-F238E27FC236}">
                <a16:creationId xmlns:a16="http://schemas.microsoft.com/office/drawing/2014/main" id="{7507B307-703E-C08A-3AE0-E170E1453757}"/>
              </a:ext>
            </a:extLst>
          </p:cNvPr>
          <p:cNvPicPr>
            <a:picLocks noChangeAspect="1"/>
          </p:cNvPicPr>
          <p:nvPr/>
        </p:nvPicPr>
        <p:blipFill>
          <a:blip r:embed="rId3"/>
          <a:stretch>
            <a:fillRect/>
          </a:stretch>
        </p:blipFill>
        <p:spPr>
          <a:xfrm>
            <a:off x="1456441" y="1687135"/>
            <a:ext cx="6058291" cy="3939358"/>
          </a:xfrm>
          <a:prstGeom prst="rect">
            <a:avLst/>
          </a:prstGeom>
        </p:spPr>
      </p:pic>
      <p:pic>
        <p:nvPicPr>
          <p:cNvPr id="3" name="Picture 4" descr="Diagram&#10;&#10;Description automatically generated">
            <a:extLst>
              <a:ext uri="{FF2B5EF4-FFF2-40B4-BE49-F238E27FC236}">
                <a16:creationId xmlns:a16="http://schemas.microsoft.com/office/drawing/2014/main" id="{20E3A14A-47D8-0CF0-8C40-7D027987A6C0}"/>
              </a:ext>
            </a:extLst>
          </p:cNvPr>
          <p:cNvPicPr>
            <a:picLocks noChangeAspect="1"/>
          </p:cNvPicPr>
          <p:nvPr/>
        </p:nvPicPr>
        <p:blipFill>
          <a:blip r:embed="rId4"/>
          <a:stretch>
            <a:fillRect/>
          </a:stretch>
        </p:blipFill>
        <p:spPr>
          <a:xfrm>
            <a:off x="7917014" y="711992"/>
            <a:ext cx="3238221" cy="1835372"/>
          </a:xfrm>
          <a:prstGeom prst="rect">
            <a:avLst/>
          </a:prstGeom>
        </p:spPr>
      </p:pic>
      <p:pic>
        <p:nvPicPr>
          <p:cNvPr id="6" name="Picture 6" descr="Map&#10;&#10;Description automatically generated">
            <a:extLst>
              <a:ext uri="{FF2B5EF4-FFF2-40B4-BE49-F238E27FC236}">
                <a16:creationId xmlns:a16="http://schemas.microsoft.com/office/drawing/2014/main" id="{15B9EEF5-E78A-D3C3-20A2-8DFE5434E914}"/>
              </a:ext>
            </a:extLst>
          </p:cNvPr>
          <p:cNvPicPr>
            <a:picLocks noChangeAspect="1"/>
          </p:cNvPicPr>
          <p:nvPr/>
        </p:nvPicPr>
        <p:blipFill rotWithShape="1">
          <a:blip r:embed="rId5"/>
          <a:srcRect t="1744" r="2555" b="581"/>
          <a:stretch/>
        </p:blipFill>
        <p:spPr>
          <a:xfrm>
            <a:off x="7917014" y="2574483"/>
            <a:ext cx="3238187" cy="2031739"/>
          </a:xfrm>
          <a:prstGeom prst="rect">
            <a:avLst/>
          </a:prstGeom>
        </p:spPr>
      </p:pic>
      <p:pic>
        <p:nvPicPr>
          <p:cNvPr id="7" name="Picture 7" descr="Diagram&#10;&#10;Description automatically generated">
            <a:extLst>
              <a:ext uri="{FF2B5EF4-FFF2-40B4-BE49-F238E27FC236}">
                <a16:creationId xmlns:a16="http://schemas.microsoft.com/office/drawing/2014/main" id="{37D6A85A-63E2-4D37-EA7A-D82EE634E733}"/>
              </a:ext>
            </a:extLst>
          </p:cNvPr>
          <p:cNvPicPr>
            <a:picLocks noChangeAspect="1"/>
          </p:cNvPicPr>
          <p:nvPr/>
        </p:nvPicPr>
        <p:blipFill rotWithShape="1">
          <a:blip r:embed="rId6"/>
          <a:srcRect r="-184" b="3170"/>
          <a:stretch/>
        </p:blipFill>
        <p:spPr>
          <a:xfrm>
            <a:off x="7917014" y="4656990"/>
            <a:ext cx="3238225" cy="1999139"/>
          </a:xfrm>
          <a:prstGeom prst="rect">
            <a:avLst/>
          </a:prstGeom>
        </p:spPr>
      </p:pic>
    </p:spTree>
    <p:extLst>
      <p:ext uri="{BB962C8B-B14F-4D97-AF65-F5344CB8AC3E}">
        <p14:creationId xmlns:p14="http://schemas.microsoft.com/office/powerpoint/2010/main" val="30840956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649" y="671875"/>
            <a:ext cx="11124701" cy="887413"/>
          </a:xfrm>
        </p:spPr>
        <p:txBody>
          <a:bodyPr anchor="ctr">
            <a:normAutofit/>
          </a:bodyPr>
          <a:lstStyle/>
          <a:p>
            <a:r>
              <a:rPr lang="fi-FI" sz="2800"/>
              <a:t>Kaavaprosessin keskeiset vaiheet</a:t>
            </a: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pic>
        <p:nvPicPr>
          <p:cNvPr id="6" name="Kuva 5">
            <a:extLst>
              <a:ext uri="{FF2B5EF4-FFF2-40B4-BE49-F238E27FC236}">
                <a16:creationId xmlns:a16="http://schemas.microsoft.com/office/drawing/2014/main" id="{F9629621-F94A-4040-9C3B-469E7FAA6E92}"/>
              </a:ext>
            </a:extLst>
          </p:cNvPr>
          <p:cNvPicPr>
            <a:picLocks noChangeAspect="1"/>
          </p:cNvPicPr>
          <p:nvPr/>
        </p:nvPicPr>
        <p:blipFill>
          <a:blip r:embed="rId3"/>
          <a:stretch>
            <a:fillRect/>
          </a:stretch>
        </p:blipFill>
        <p:spPr>
          <a:xfrm>
            <a:off x="952704" y="1381425"/>
            <a:ext cx="8028564" cy="3597669"/>
          </a:xfrm>
          <a:prstGeom prst="rect">
            <a:avLst/>
          </a:prstGeom>
        </p:spPr>
      </p:pic>
      <p:sp>
        <p:nvSpPr>
          <p:cNvPr id="7" name="Suorakulmio 6">
            <a:extLst>
              <a:ext uri="{FF2B5EF4-FFF2-40B4-BE49-F238E27FC236}">
                <a16:creationId xmlns:a16="http://schemas.microsoft.com/office/drawing/2014/main" id="{771192CD-BB32-436A-A438-2D385A34DA75}"/>
              </a:ext>
            </a:extLst>
          </p:cNvPr>
          <p:cNvSpPr/>
          <p:nvPr/>
        </p:nvSpPr>
        <p:spPr>
          <a:xfrm>
            <a:off x="3138407" y="2952426"/>
            <a:ext cx="1751308" cy="557939"/>
          </a:xfrm>
          <a:prstGeom prst="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 name="Tekstiruutu 2">
            <a:extLst>
              <a:ext uri="{FF2B5EF4-FFF2-40B4-BE49-F238E27FC236}">
                <a16:creationId xmlns:a16="http://schemas.microsoft.com/office/drawing/2014/main" id="{04EF6283-4BCC-E298-39E0-A369865928E7}"/>
              </a:ext>
            </a:extLst>
          </p:cNvPr>
          <p:cNvSpPr txBox="1"/>
          <p:nvPr/>
        </p:nvSpPr>
        <p:spPr>
          <a:xfrm>
            <a:off x="3310467" y="5020733"/>
            <a:ext cx="1549400" cy="646331"/>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i-FI" sz="1200"/>
              <a:t>Mahdollisuus jättää mielipide </a:t>
            </a:r>
            <a:r>
              <a:rPr lang="fi-FI" sz="1200" b="1">
                <a:ea typeface="+mn-lt"/>
                <a:cs typeface="+mn-lt"/>
              </a:rPr>
              <a:t>26.5.2022 </a:t>
            </a:r>
            <a:r>
              <a:rPr lang="fi-FI" sz="1200"/>
              <a:t>saakka</a:t>
            </a:r>
          </a:p>
        </p:txBody>
      </p:sp>
      <p:sp>
        <p:nvSpPr>
          <p:cNvPr id="8" name="Tekstiruutu 7">
            <a:extLst>
              <a:ext uri="{FF2B5EF4-FFF2-40B4-BE49-F238E27FC236}">
                <a16:creationId xmlns:a16="http://schemas.microsoft.com/office/drawing/2014/main" id="{A2CBB272-23C1-7AF2-9AC0-499C6991390C}"/>
              </a:ext>
            </a:extLst>
          </p:cNvPr>
          <p:cNvSpPr txBox="1"/>
          <p:nvPr/>
        </p:nvSpPr>
        <p:spPr>
          <a:xfrm>
            <a:off x="5317067" y="5020733"/>
            <a:ext cx="1549400" cy="646331"/>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i-FI" sz="1200"/>
              <a:t>Mahdollisuus jättää muistutus </a:t>
            </a:r>
            <a:r>
              <a:rPr lang="fi-FI" sz="1200" err="1"/>
              <a:t>nähtävilläoloaikana</a:t>
            </a:r>
          </a:p>
        </p:txBody>
      </p:sp>
    </p:spTree>
    <p:extLst>
      <p:ext uri="{BB962C8B-B14F-4D97-AF65-F5344CB8AC3E}">
        <p14:creationId xmlns:p14="http://schemas.microsoft.com/office/powerpoint/2010/main" val="22980275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975" y="770266"/>
            <a:ext cx="11124701" cy="887413"/>
          </a:xfrm>
        </p:spPr>
        <p:txBody>
          <a:bodyPr anchor="ctr">
            <a:normAutofit/>
          </a:bodyPr>
          <a:lstStyle/>
          <a:p>
            <a:r>
              <a:rPr lang="fi-FI" sz="2800"/>
              <a:t>Keskeisiä lähtötietoja ja tehdyt selvitykset</a:t>
            </a:r>
          </a:p>
        </p:txBody>
      </p:sp>
      <p:sp>
        <p:nvSpPr>
          <p:cNvPr id="13" name="Sisällön paikkamerkki 2">
            <a:extLst>
              <a:ext uri="{FF2B5EF4-FFF2-40B4-BE49-F238E27FC236}">
                <a16:creationId xmlns:a16="http://schemas.microsoft.com/office/drawing/2014/main" id="{2448473E-BE74-4D45-AA80-34B03F615A34}"/>
              </a:ext>
            </a:extLst>
          </p:cNvPr>
          <p:cNvSpPr txBox="1">
            <a:spLocks/>
          </p:cNvSpPr>
          <p:nvPr/>
        </p:nvSpPr>
        <p:spPr>
          <a:xfrm>
            <a:off x="466974" y="1756070"/>
            <a:ext cx="5275148" cy="4462760"/>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3pPr>
            <a:lvl4pPr marL="86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9pPr>
          </a:lstStyle>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kumimoji="0" lang="fi-FI" sz="1600" b="0" i="0" u="none" strike="noStrike" kern="1200" cap="none" spc="0" normalizeH="0" baseline="0" noProof="0">
                <a:ln>
                  <a:noFill/>
                </a:ln>
                <a:effectLst/>
                <a:uLnTx/>
                <a:uFillTx/>
                <a:latin typeface="Sweco Sans"/>
                <a:ea typeface="+mn-ea"/>
                <a:cs typeface="+mn-cs"/>
              </a:rPr>
              <a:t>Pohjois-Pohjanmaan maakuntakaavat taustaselvityksineen</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600">
                <a:latin typeface="Sweco Sans"/>
              </a:rPr>
              <a:t>Iin kunnan voimassa olevat ja vireillä olevat kaavat</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600">
                <a:latin typeface="Sweco Sans"/>
              </a:rPr>
              <a:t>Iin kunnan voimassa olevat strategiat ja ohjelmat (mm. kuntastrategia, elinkeino-ohjelma)</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kumimoji="0" lang="fi-FI" sz="1600" b="0" i="0" u="none" strike="noStrike" kern="1200" cap="none" spc="0" normalizeH="0" baseline="0" noProof="0">
                <a:ln>
                  <a:noFill/>
                </a:ln>
                <a:effectLst/>
                <a:uLnTx/>
                <a:uFillTx/>
                <a:latin typeface="Sweco Sans"/>
                <a:ea typeface="+mn-ea"/>
                <a:cs typeface="+mn-cs"/>
              </a:rPr>
              <a:t>Iin maankäytön </a:t>
            </a:r>
            <a:r>
              <a:rPr lang="fi-FI" sz="1600">
                <a:latin typeface="Sweco Sans"/>
              </a:rPr>
              <a:t>kehityskuva 2040</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600">
                <a:latin typeface="Sweco Sans"/>
              </a:rPr>
              <a:t>Oulun seudun kehityskuva 2030 +</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600">
                <a:latin typeface="Sweco Sans"/>
              </a:rPr>
              <a:t>Merialuesuunnitelma </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600">
                <a:latin typeface="Sweco Sans"/>
              </a:rPr>
              <a:t>Seudulliset suunnitelmat (mm. liikenne)</a:t>
            </a:r>
          </a:p>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r>
              <a:rPr lang="fi-FI" sz="1600">
                <a:latin typeface="Sweco Sans"/>
              </a:rPr>
              <a:t>Olemassa olevat tietokannat ja paikkatietoaineistot</a:t>
            </a:r>
          </a:p>
          <a:p>
            <a:pPr marL="285750" marR="0" lvl="0" indent="-285750" algn="l" defTabSz="914400" rtl="0" eaLnBrk="1" fontAlgn="auto" latinLnBrk="0" hangingPunct="1">
              <a:lnSpc>
                <a:spcPts val="2000"/>
              </a:lnSpc>
              <a:spcBef>
                <a:spcPts val="0"/>
              </a:spcBef>
              <a:spcAft>
                <a:spcPts val="1200"/>
              </a:spcAft>
              <a:buClrTx/>
              <a:buSzTx/>
              <a:buFont typeface="Arial" panose="020B0604020202020204" pitchFamily="34" charset="0"/>
              <a:buChar char="•"/>
              <a:tabLst/>
              <a:defRPr/>
            </a:pPr>
            <a:endParaRPr kumimoji="0" lang="fi-FI" sz="1600" b="0" i="0" u="none" strike="noStrike" kern="1200" cap="none" spc="0" normalizeH="0" baseline="0" noProof="0">
              <a:ln>
                <a:noFill/>
              </a:ln>
              <a:effectLst/>
              <a:uLnTx/>
              <a:uFillTx/>
              <a:latin typeface="Sweco Sans"/>
              <a:ea typeface="+mn-ea"/>
              <a:cs typeface="+mn-cs"/>
            </a:endParaRP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sp>
        <p:nvSpPr>
          <p:cNvPr id="5" name="Sisällön paikkamerkki 2">
            <a:extLst>
              <a:ext uri="{FF2B5EF4-FFF2-40B4-BE49-F238E27FC236}">
                <a16:creationId xmlns:a16="http://schemas.microsoft.com/office/drawing/2014/main" id="{390B7203-3EBE-4B46-87D7-4DD0AADF966E}"/>
              </a:ext>
            </a:extLst>
          </p:cNvPr>
          <p:cNvSpPr txBox="1">
            <a:spLocks/>
          </p:cNvSpPr>
          <p:nvPr/>
        </p:nvSpPr>
        <p:spPr>
          <a:xfrm>
            <a:off x="6214262" y="1776330"/>
            <a:ext cx="5275148" cy="4462760"/>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3pPr>
            <a:lvl4pPr marL="86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0"/>
              </a:spcBef>
              <a:spcAft>
                <a:spcPts val="1200"/>
              </a:spcAft>
              <a:buClrTx/>
              <a:buSzTx/>
              <a:buNone/>
              <a:tabLst/>
              <a:defRPr/>
            </a:pPr>
            <a:r>
              <a:rPr lang="fi-FI" sz="1600" b="1">
                <a:solidFill>
                  <a:srgbClr val="0070C0"/>
                </a:solidFill>
                <a:latin typeface="Calibri" panose="020F0502020204030204" pitchFamily="34" charset="0"/>
                <a:cs typeface="Times New Roman" panose="02020603050405020304" pitchFamily="18" charset="0"/>
              </a:rPr>
              <a:t>Keskeiset taustaselvitykset:</a:t>
            </a:r>
          </a:p>
          <a:p>
            <a:pPr algn="just">
              <a:spcAft>
                <a:spcPts val="600"/>
              </a:spcAft>
              <a:buFont typeface="Wingdings" panose="05000000000000000000" pitchFamily="2" charset="2"/>
              <a:buChar char="§"/>
            </a:pPr>
            <a:r>
              <a:rPr lang="fi-FI" sz="1600">
                <a:latin typeface="Sweco Sans"/>
              </a:rPr>
              <a:t>Asemanseudun maankäyttöselvitys</a:t>
            </a:r>
          </a:p>
          <a:p>
            <a:pPr algn="just">
              <a:spcAft>
                <a:spcPts val="600"/>
              </a:spcAft>
              <a:buFont typeface="Wingdings" panose="05000000000000000000" pitchFamily="2" charset="2"/>
              <a:buChar char="§"/>
            </a:pPr>
            <a:r>
              <a:rPr lang="fi-FI" sz="1600">
                <a:latin typeface="Sweco Sans"/>
              </a:rPr>
              <a:t>Tuulivoimaselvitys</a:t>
            </a:r>
          </a:p>
          <a:p>
            <a:pPr algn="just">
              <a:spcAft>
                <a:spcPts val="600"/>
              </a:spcAft>
              <a:buFont typeface="Wingdings" panose="05000000000000000000" pitchFamily="2" charset="2"/>
              <a:buChar char="§"/>
            </a:pPr>
            <a:r>
              <a:rPr lang="fi-FI" sz="1600">
                <a:latin typeface="Sweco Sans"/>
              </a:rPr>
              <a:t>Kaupallinen selvitys</a:t>
            </a:r>
          </a:p>
          <a:p>
            <a:pPr algn="just">
              <a:spcAft>
                <a:spcPts val="600"/>
              </a:spcAft>
              <a:buFont typeface="Wingdings" panose="05000000000000000000" pitchFamily="2" charset="2"/>
              <a:buChar char="§"/>
            </a:pPr>
            <a:r>
              <a:rPr lang="fi-FI" sz="1600">
                <a:latin typeface="Sweco Sans"/>
              </a:rPr>
              <a:t>Lähijunaliikenneselvitys</a:t>
            </a:r>
          </a:p>
          <a:p>
            <a:pPr marL="0" marR="0" lvl="0" indent="0" algn="l" defTabSz="914400" rtl="0" eaLnBrk="1" fontAlgn="auto" latinLnBrk="0" hangingPunct="1">
              <a:lnSpc>
                <a:spcPts val="2000"/>
              </a:lnSpc>
              <a:spcBef>
                <a:spcPts val="0"/>
              </a:spcBef>
              <a:spcAft>
                <a:spcPts val="1200"/>
              </a:spcAft>
              <a:buClrTx/>
              <a:buSzTx/>
              <a:buNone/>
              <a:tabLst/>
              <a:defRPr/>
            </a:pPr>
            <a:endParaRPr lang="fi-FI" sz="1600">
              <a:latin typeface="Sweco Sans"/>
            </a:endParaRPr>
          </a:p>
          <a:p>
            <a:pPr marL="285750" marR="0" lvl="0" indent="-285750" algn="l" defTabSz="914400" rtl="0" eaLnBrk="1" fontAlgn="auto" latinLnBrk="0" hangingPunct="1">
              <a:lnSpc>
                <a:spcPts val="2000"/>
              </a:lnSpc>
              <a:spcBef>
                <a:spcPts val="0"/>
              </a:spcBef>
              <a:spcAft>
                <a:spcPts val="1200"/>
              </a:spcAft>
              <a:buClrTx/>
              <a:buSzTx/>
              <a:buFont typeface="Arial" panose="020B0604020202020204" pitchFamily="34" charset="0"/>
              <a:buChar char="•"/>
              <a:tabLst/>
              <a:defRPr/>
            </a:pPr>
            <a:endParaRPr kumimoji="0" lang="fi-FI" sz="1600" b="0" i="0" u="none" strike="noStrike" kern="1200" cap="none" spc="0" normalizeH="0" baseline="0" noProof="0">
              <a:ln>
                <a:noFill/>
              </a:ln>
              <a:effectLst/>
              <a:uLnTx/>
              <a:uFillTx/>
              <a:latin typeface="Sweco Sans"/>
              <a:ea typeface="+mn-ea"/>
              <a:cs typeface="+mn-cs"/>
            </a:endParaRPr>
          </a:p>
        </p:txBody>
      </p:sp>
      <p:pic>
        <p:nvPicPr>
          <p:cNvPr id="3" name="Kuva 2">
            <a:extLst>
              <a:ext uri="{FF2B5EF4-FFF2-40B4-BE49-F238E27FC236}">
                <a16:creationId xmlns:a16="http://schemas.microsoft.com/office/drawing/2014/main" id="{A237156C-155E-4C26-A4C8-F3CAE45D9A87}"/>
              </a:ext>
            </a:extLst>
          </p:cNvPr>
          <p:cNvPicPr>
            <a:picLocks noChangeAspect="1"/>
          </p:cNvPicPr>
          <p:nvPr/>
        </p:nvPicPr>
        <p:blipFill>
          <a:blip r:embed="rId3"/>
          <a:stretch>
            <a:fillRect/>
          </a:stretch>
        </p:blipFill>
        <p:spPr>
          <a:xfrm>
            <a:off x="6214262" y="3894715"/>
            <a:ext cx="4041998" cy="1377815"/>
          </a:xfrm>
          <a:prstGeom prst="rect">
            <a:avLst/>
          </a:prstGeom>
        </p:spPr>
      </p:pic>
    </p:spTree>
    <p:extLst>
      <p:ext uri="{BB962C8B-B14F-4D97-AF65-F5344CB8AC3E}">
        <p14:creationId xmlns:p14="http://schemas.microsoft.com/office/powerpoint/2010/main" val="21699729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975" y="770266"/>
            <a:ext cx="11124701" cy="887413"/>
          </a:xfrm>
        </p:spPr>
        <p:txBody>
          <a:bodyPr anchor="ctr">
            <a:normAutofit/>
          </a:bodyPr>
          <a:lstStyle/>
          <a:p>
            <a:r>
              <a:rPr lang="fi-FI" sz="2800"/>
              <a:t>Lähtökohtia: Pohjois-Pohjanmaan maakuntakaava</a:t>
            </a:r>
          </a:p>
        </p:txBody>
      </p:sp>
      <p:pic>
        <p:nvPicPr>
          <p:cNvPr id="4" name="Kuva 3">
            <a:extLst>
              <a:ext uri="{FF2B5EF4-FFF2-40B4-BE49-F238E27FC236}">
                <a16:creationId xmlns:a16="http://schemas.microsoft.com/office/drawing/2014/main" id="{1E15C630-EA92-4600-97CE-C9F495F42873}"/>
              </a:ext>
            </a:extLst>
          </p:cNvPr>
          <p:cNvPicPr>
            <a:picLocks noChangeAspect="1"/>
          </p:cNvPicPr>
          <p:nvPr/>
        </p:nvPicPr>
        <p:blipFill>
          <a:blip r:embed="rId2"/>
          <a:stretch>
            <a:fillRect/>
          </a:stretch>
        </p:blipFill>
        <p:spPr>
          <a:xfrm>
            <a:off x="466974" y="259010"/>
            <a:ext cx="1604422" cy="412865"/>
          </a:xfrm>
          <a:prstGeom prst="rect">
            <a:avLst/>
          </a:prstGeom>
        </p:spPr>
      </p:pic>
      <p:sp>
        <p:nvSpPr>
          <p:cNvPr id="7" name="Sisällön paikkamerkki 2">
            <a:extLst>
              <a:ext uri="{FF2B5EF4-FFF2-40B4-BE49-F238E27FC236}">
                <a16:creationId xmlns:a16="http://schemas.microsoft.com/office/drawing/2014/main" id="{9949CC24-5941-4D00-BBFF-7C476CA9092A}"/>
              </a:ext>
            </a:extLst>
          </p:cNvPr>
          <p:cNvSpPr txBox="1">
            <a:spLocks/>
          </p:cNvSpPr>
          <p:nvPr/>
        </p:nvSpPr>
        <p:spPr>
          <a:xfrm>
            <a:off x="466974" y="1539488"/>
            <a:ext cx="5329392" cy="4760573"/>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3pPr>
            <a:lvl4pPr marL="86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9pPr>
          </a:lstStyle>
          <a:p>
            <a:pPr marR="0" lvl="0" algn="l" defTabSz="914400" rtl="0" eaLnBrk="1" fontAlgn="auto" latinLnBrk="0" hangingPunct="1">
              <a:lnSpc>
                <a:spcPts val="2000"/>
              </a:lnSpc>
              <a:spcBef>
                <a:spcPts val="0"/>
              </a:spcBef>
              <a:spcAft>
                <a:spcPts val="1200"/>
              </a:spcAft>
              <a:buClrTx/>
              <a:buSzTx/>
              <a:buFont typeface="Wingdings" panose="05000000000000000000" pitchFamily="2" charset="2"/>
              <a:buChar char="§"/>
              <a:tabLst/>
              <a:defRPr/>
            </a:pPr>
            <a:endParaRPr lang="fi-FI" sz="1400">
              <a:latin typeface="Sweco Sans"/>
            </a:endParaRPr>
          </a:p>
        </p:txBody>
      </p:sp>
      <p:pic>
        <p:nvPicPr>
          <p:cNvPr id="13" name="Kuva 12">
            <a:extLst>
              <a:ext uri="{FF2B5EF4-FFF2-40B4-BE49-F238E27FC236}">
                <a16:creationId xmlns:a16="http://schemas.microsoft.com/office/drawing/2014/main" id="{2D49ACE1-2560-4D72-B3F3-383248EFC5E2}"/>
              </a:ext>
            </a:extLst>
          </p:cNvPr>
          <p:cNvPicPr>
            <a:picLocks noChangeAspect="1"/>
          </p:cNvPicPr>
          <p:nvPr/>
        </p:nvPicPr>
        <p:blipFill>
          <a:blip r:embed="rId3"/>
          <a:stretch>
            <a:fillRect/>
          </a:stretch>
        </p:blipFill>
        <p:spPr>
          <a:xfrm>
            <a:off x="4955942" y="1539488"/>
            <a:ext cx="6635734" cy="4431099"/>
          </a:xfrm>
          <a:prstGeom prst="rect">
            <a:avLst/>
          </a:prstGeom>
        </p:spPr>
      </p:pic>
      <p:sp>
        <p:nvSpPr>
          <p:cNvPr id="14" name="Suorakulmio 13">
            <a:extLst>
              <a:ext uri="{FF2B5EF4-FFF2-40B4-BE49-F238E27FC236}">
                <a16:creationId xmlns:a16="http://schemas.microsoft.com/office/drawing/2014/main" id="{5E28C825-2824-49CF-87DE-7274674FF065}"/>
              </a:ext>
            </a:extLst>
          </p:cNvPr>
          <p:cNvSpPr/>
          <p:nvPr/>
        </p:nvSpPr>
        <p:spPr>
          <a:xfrm>
            <a:off x="4636017" y="1539488"/>
            <a:ext cx="2495228" cy="5275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5" name="Tekstiruutu 14">
            <a:extLst>
              <a:ext uri="{FF2B5EF4-FFF2-40B4-BE49-F238E27FC236}">
                <a16:creationId xmlns:a16="http://schemas.microsoft.com/office/drawing/2014/main" id="{3929806B-E589-4069-B85A-0E730AA9EC0E}"/>
              </a:ext>
            </a:extLst>
          </p:cNvPr>
          <p:cNvSpPr txBox="1"/>
          <p:nvPr/>
        </p:nvSpPr>
        <p:spPr>
          <a:xfrm>
            <a:off x="4843220" y="6004519"/>
            <a:ext cx="6635734" cy="261610"/>
          </a:xfrm>
          <a:prstGeom prst="rect">
            <a:avLst/>
          </a:prstGeom>
          <a:noFill/>
        </p:spPr>
        <p:txBody>
          <a:bodyPr wrap="square" rtlCol="0">
            <a:spAutoFit/>
          </a:bodyPr>
          <a:lstStyle/>
          <a:p>
            <a:r>
              <a:rPr lang="fi-FI" sz="1100" i="1"/>
              <a:t>Ote Pohjois-Pohjanmaan maakuntakaavojen yhdistelmäkartasta (Lähde: Pohjois-Pohjanmaan liitto 2022)</a:t>
            </a:r>
          </a:p>
        </p:txBody>
      </p:sp>
      <p:sp>
        <p:nvSpPr>
          <p:cNvPr id="16" name="Sisällön paikkamerkki 2">
            <a:extLst>
              <a:ext uri="{FF2B5EF4-FFF2-40B4-BE49-F238E27FC236}">
                <a16:creationId xmlns:a16="http://schemas.microsoft.com/office/drawing/2014/main" id="{6FE8797D-1B70-4777-BCF7-CB363DD9B670}"/>
              </a:ext>
            </a:extLst>
          </p:cNvPr>
          <p:cNvSpPr txBox="1">
            <a:spLocks/>
          </p:cNvSpPr>
          <p:nvPr/>
        </p:nvSpPr>
        <p:spPr>
          <a:xfrm>
            <a:off x="466973" y="1756070"/>
            <a:ext cx="4169043" cy="4462760"/>
          </a:xfrm>
          <a:prstGeom prst="rect">
            <a:avLst/>
          </a:prstGeom>
        </p:spPr>
        <p:txBody>
          <a:bodyPr vert="horz" lIns="0" tIns="0" rIns="0" bIns="0" rtlCol="0">
            <a:noAutofit/>
          </a:bodyPr>
          <a:lstStyle>
            <a:lvl1pPr marL="216000" indent="-2160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1pPr>
            <a:lvl2pPr marL="43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3pPr>
            <a:lvl4pPr marL="86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4pPr>
            <a:lvl5pPr marL="1080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5pPr>
            <a:lvl6pPr marL="1296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6pPr>
            <a:lvl7pPr marL="1512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7pPr>
            <a:lvl8pPr marL="1728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8pPr>
            <a:lvl9pPr marL="1944000" indent="-216000" algn="l" defTabSz="914400" rtl="0" eaLnBrk="1" latinLnBrk="0" hangingPunct="1">
              <a:lnSpc>
                <a:spcPct val="100000"/>
              </a:lnSpc>
              <a:spcBef>
                <a:spcPts val="0"/>
              </a:spcBef>
              <a:buFont typeface="Arial" panose="00000500000000000000" pitchFamily="50" charset="0"/>
              <a:buChar char="–"/>
              <a:defRPr sz="1800" kern="1200">
                <a:solidFill>
                  <a:schemeClr val="tx1"/>
                </a:solidFill>
                <a:latin typeface="+mn-lt"/>
                <a:ea typeface="+mn-ea"/>
                <a:cs typeface="+mn-cs"/>
              </a:defRPr>
            </a:lvl9pPr>
          </a:lstStyle>
          <a:p>
            <a:pPr marL="0" indent="0">
              <a:buNone/>
            </a:pPr>
            <a:r>
              <a:rPr lang="fi-FI" sz="1600" b="1">
                <a:solidFill>
                  <a:srgbClr val="0070C0"/>
                </a:solidFill>
                <a:cs typeface="Times New Roman" panose="02020603050405020304" pitchFamily="18" charset="0"/>
              </a:rPr>
              <a:t>Voimassa oleva maakuntakaava on huomioitu strategisen yleiskaavan laadinnassa. </a:t>
            </a:r>
          </a:p>
          <a:p>
            <a:pPr marL="0" indent="0">
              <a:buNone/>
            </a:pPr>
            <a:r>
              <a:rPr lang="fi-FI" sz="1600">
                <a:solidFill>
                  <a:srgbClr val="363636"/>
                </a:solidFill>
              </a:rPr>
              <a:t>Strateginen yleiskaava linjaa kunnan tavoitteita, joita voidaan esittää tuleviin maakuntakaavan päivityksiin ja muihin maakunta- ja seututason suunnitelmiin.  </a:t>
            </a:r>
          </a:p>
          <a:p>
            <a:pPr marL="0" indent="0">
              <a:buNone/>
            </a:pPr>
            <a:r>
              <a:rPr lang="fi-FI" sz="1600" b="1">
                <a:solidFill>
                  <a:srgbClr val="0070C0"/>
                </a:solidFill>
                <a:cs typeface="Times New Roman" panose="02020603050405020304" pitchFamily="18" charset="0"/>
              </a:rPr>
              <a:t>Pohjois-Pohjanmaan energia- ja ilmastomaakuntakaavan laatiminen on käynnistetty lokakuussa 2021. </a:t>
            </a:r>
            <a:r>
              <a:rPr lang="fi-FI" sz="1600">
                <a:solidFill>
                  <a:srgbClr val="363636"/>
                </a:solidFill>
              </a:rPr>
              <a:t>Kaavassa käsitellään muun muassa seudullisia tuulivoima-alueita. Kaavaluonnos on tavoitteena asettaa nähtäville kesäkuussa 2022. </a:t>
            </a:r>
          </a:p>
          <a:p>
            <a:pPr marL="0" indent="0">
              <a:buNone/>
            </a:pPr>
            <a:endParaRPr lang="fi-FI" sz="1600">
              <a:solidFill>
                <a:srgbClr val="363636"/>
              </a:solidFill>
              <a:latin typeface="Source Sans Pro" panose="020B0503030403020204" pitchFamily="34" charset="0"/>
            </a:endParaRPr>
          </a:p>
          <a:p>
            <a:pPr marL="0" indent="0">
              <a:buNone/>
            </a:pPr>
            <a:endParaRPr lang="fi-FI" sz="1600">
              <a:solidFill>
                <a:srgbClr val="376AC3"/>
              </a:solidFill>
              <a:latin typeface="Source Sans Pro" panose="020B0503030403020204" pitchFamily="34" charset="0"/>
            </a:endParaRPr>
          </a:p>
          <a:p>
            <a:pPr marL="0" indent="0">
              <a:buNone/>
            </a:pPr>
            <a:endParaRPr lang="fi-FI" sz="1600" b="1"/>
          </a:p>
        </p:txBody>
      </p:sp>
    </p:spTree>
    <p:extLst>
      <p:ext uri="{BB962C8B-B14F-4D97-AF65-F5344CB8AC3E}">
        <p14:creationId xmlns:p14="http://schemas.microsoft.com/office/powerpoint/2010/main" val="36409011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46&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Sweco">
      <a:dk1>
        <a:srgbClr val="3F3F42"/>
      </a:dk1>
      <a:lt1>
        <a:srgbClr val="FFFFFF"/>
      </a:lt1>
      <a:dk2>
        <a:srgbClr val="3F3F42"/>
      </a:dk2>
      <a:lt2>
        <a:srgbClr val="E2E0DA"/>
      </a:lt2>
      <a:accent1>
        <a:srgbClr val="A48730"/>
      </a:accent1>
      <a:accent2>
        <a:srgbClr val="8593AF"/>
      </a:accent2>
      <a:accent3>
        <a:srgbClr val="B484A2"/>
      </a:accent3>
      <a:accent4>
        <a:srgbClr val="3F3F42"/>
      </a:accent4>
      <a:accent5>
        <a:srgbClr val="DEC55B"/>
      </a:accent5>
      <a:accent6>
        <a:srgbClr val="A4A4A6"/>
      </a:accent6>
      <a:hlink>
        <a:srgbClr val="A4A4A6"/>
      </a:hlink>
      <a:folHlink>
        <a:srgbClr val="F2B1DC"/>
      </a:folHlink>
    </a:clrScheme>
    <a:fontScheme name="Sweco">
      <a:majorFont>
        <a:latin typeface="Sweco Sans Medium"/>
        <a:ea typeface=""/>
        <a:cs typeface=""/>
      </a:majorFont>
      <a:minorFont>
        <a:latin typeface="Swec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Muted1">
      <a:srgbClr val="A48730"/>
    </a:custClr>
    <a:custClr name="Muted2">
      <a:srgbClr val="8593AF"/>
    </a:custClr>
    <a:custClr name="Muted3">
      <a:srgbClr val="B484A2"/>
    </a:custClr>
    <a:custClr name="Bright1">
      <a:srgbClr val="DEC55B"/>
    </a:custClr>
    <a:custClr name="Bright2">
      <a:srgbClr val="C0D4FD"/>
    </a:custClr>
    <a:custClr name="Bright3">
      <a:srgbClr val="F2B1DC"/>
    </a:custClr>
    <a:custClr name="Grey1">
      <a:srgbClr val="E2E0DA"/>
    </a:custClr>
    <a:custClr name="Grey2">
      <a:srgbClr val="A4A4A6"/>
    </a:custClr>
    <a:custClr name="Grey3">
      <a:srgbClr val="3F3F42"/>
    </a:custClr>
  </a:custClrLst>
  <a:extLst>
    <a:ext uri="{05A4C25C-085E-4340-85A3-A5531E510DB2}">
      <thm15:themeFamily xmlns:thm15="http://schemas.microsoft.com/office/thememl/2012/main" name="Mallförslag 16_9 #3" id="{F394757E-4F48-41E2-9BC0-713BCAF7FBBD}" vid="{7013FA0A-15B4-4A8C-B071-281D279DAC12}"/>
    </a:ext>
  </a:extLst>
</a:theme>
</file>

<file path=ppt/theme/theme2.xml><?xml version="1.0" encoding="utf-8"?>
<a:theme xmlns:a="http://schemas.openxmlformats.org/drawingml/2006/main" name="ely_new2021">
  <a:themeElements>
    <a:clrScheme name="ELY 2020">
      <a:dk1>
        <a:sysClr val="windowText" lastClr="000000"/>
      </a:dk1>
      <a:lt1>
        <a:sysClr val="window" lastClr="FFFFFF"/>
      </a:lt1>
      <a:dk2>
        <a:srgbClr val="003883"/>
      </a:dk2>
      <a:lt2>
        <a:srgbClr val="D8D8D8"/>
      </a:lt2>
      <a:accent1>
        <a:srgbClr val="003883"/>
      </a:accent1>
      <a:accent2>
        <a:srgbClr val="D9640C"/>
      </a:accent2>
      <a:accent3>
        <a:srgbClr val="5A8117"/>
      </a:accent3>
      <a:accent4>
        <a:srgbClr val="4460A5"/>
      </a:accent4>
      <a:accent5>
        <a:srgbClr val="623412"/>
      </a:accent5>
      <a:accent6>
        <a:srgbClr val="9E652E"/>
      </a:accent6>
      <a:hlink>
        <a:srgbClr val="0563C1"/>
      </a:hlink>
      <a:folHlink>
        <a:srgbClr val="954F72"/>
      </a:folHlink>
    </a:clrScheme>
    <a:fontScheme name="ELY_fontit_202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ely_uusi_2021.potx" id="{543388CA-4464-4614-A257-6C25AE36A37D}" vid="{A3828C89-02CC-4779-BD92-33970237EB41}"/>
    </a:ext>
  </a:extLst>
</a:theme>
</file>

<file path=ppt/theme/theme3.xml><?xml version="1.0" encoding="utf-8"?>
<a:theme xmlns:a="http://schemas.openxmlformats.org/drawingml/2006/main" name="1_MC Master 2020_v02">
  <a:themeElements>
    <a:clrScheme name="Destia">
      <a:dk1>
        <a:srgbClr val="505050"/>
      </a:dk1>
      <a:lt1>
        <a:srgbClr val="FFFFFF"/>
      </a:lt1>
      <a:dk2>
        <a:srgbClr val="505050"/>
      </a:dk2>
      <a:lt2>
        <a:srgbClr val="C8C8C8"/>
      </a:lt2>
      <a:accent1>
        <a:srgbClr val="32912E"/>
      </a:accent1>
      <a:accent2>
        <a:srgbClr val="FFCE00"/>
      </a:accent2>
      <a:accent3>
        <a:srgbClr val="282828"/>
      </a:accent3>
      <a:accent4>
        <a:srgbClr val="F7A51C"/>
      </a:accent4>
      <a:accent5>
        <a:srgbClr val="835738"/>
      </a:accent5>
      <a:accent6>
        <a:srgbClr val="3B70B7"/>
      </a:accent6>
      <a:hlink>
        <a:srgbClr val="9EC6E9"/>
      </a:hlink>
      <a:folHlink>
        <a:srgbClr val="3B70B7"/>
      </a:folHlink>
    </a:clrScheme>
    <a:fontScheme name="Destia_fontit">
      <a:majorFont>
        <a:latin typeface="Open sans extrabold"/>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fontAlgn="auto">
          <a:spcBef>
            <a:spcPts val="0"/>
          </a:spcBef>
          <a:spcAft>
            <a:spcPts val="0"/>
          </a:spcAft>
          <a:defRPr sz="1200" dirty="0" err="1" smtClean="0">
            <a:solidFill>
              <a:schemeClr val="bg1"/>
            </a:solidFill>
            <a:ea typeface="Muli" charset="0"/>
            <a:cs typeface="Muli" charset="0"/>
          </a:defRPr>
        </a:defPPr>
      </a:lstStyle>
      <a:style>
        <a:lnRef idx="1">
          <a:schemeClr val="accent1"/>
        </a:lnRef>
        <a:fillRef idx="3">
          <a:schemeClr val="accent1"/>
        </a:fillRef>
        <a:effectRef idx="2">
          <a:schemeClr val="accent1"/>
        </a:effectRef>
        <a:fontRef idx="minor">
          <a:schemeClr val="lt1"/>
        </a:fontRef>
      </a:style>
    </a:spDef>
    <a:lnDef>
      <a:spPr>
        <a:ln w="57150">
          <a:solidFill>
            <a:schemeClr val="accent6"/>
          </a:solidFill>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lnSpc>
            <a:spcPct val="92000"/>
          </a:lnSpc>
          <a:buClr>
            <a:schemeClr val="accent5"/>
          </a:buClr>
          <a:defRPr sz="1400" dirty="0" err="1" smtClean="0">
            <a:latin typeface="+mn-lt"/>
            <a:cs typeface="Calibri Light"/>
          </a:defRPr>
        </a:defPPr>
      </a:lstStyle>
    </a:txDef>
  </a:objectDefaults>
  <a:extraClrSchemeLst/>
  <a:extLst>
    <a:ext uri="{05A4C25C-085E-4340-85A3-A5531E510DB2}">
      <thm15:themeFamily xmlns:thm15="http://schemas.microsoft.com/office/thememl/2012/main" name="Powerpoint-pohja_uusi_112021" id="{E5E04403-DAD6-427A-8727-C1653D2DF9AB}" vid="{2DCC3699-D783-4AA2-9226-14C64A23BF60}"/>
    </a:ext>
  </a:extLst>
</a:theme>
</file>

<file path=ppt/theme/theme4.xml><?xml version="1.0" encoding="utf-8"?>
<a:theme xmlns:a="http://schemas.openxmlformats.org/drawingml/2006/main" name="Office-tema">
  <a:themeElements>
    <a:clrScheme name="Sweco">
      <a:dk1>
        <a:srgbClr val="3F3F42"/>
      </a:dk1>
      <a:lt1>
        <a:srgbClr val="FFFFFF"/>
      </a:lt1>
      <a:dk2>
        <a:srgbClr val="3F3F42"/>
      </a:dk2>
      <a:lt2>
        <a:srgbClr val="E2E0DA"/>
      </a:lt2>
      <a:accent1>
        <a:srgbClr val="A48730"/>
      </a:accent1>
      <a:accent2>
        <a:srgbClr val="8593AF"/>
      </a:accent2>
      <a:accent3>
        <a:srgbClr val="B484A2"/>
      </a:accent3>
      <a:accent4>
        <a:srgbClr val="3F3F42"/>
      </a:accent4>
      <a:accent5>
        <a:srgbClr val="DEC55B"/>
      </a:accent5>
      <a:accent6>
        <a:srgbClr val="A4A4A6"/>
      </a:accent6>
      <a:hlink>
        <a:srgbClr val="A4A4A6"/>
      </a:hlink>
      <a:folHlink>
        <a:srgbClr val="F2B1D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tema">
  <a:themeElements>
    <a:clrScheme name="Sweco">
      <a:dk1>
        <a:srgbClr val="3F3F42"/>
      </a:dk1>
      <a:lt1>
        <a:srgbClr val="FFFFFF"/>
      </a:lt1>
      <a:dk2>
        <a:srgbClr val="3F3F42"/>
      </a:dk2>
      <a:lt2>
        <a:srgbClr val="E2E0DA"/>
      </a:lt2>
      <a:accent1>
        <a:srgbClr val="A48730"/>
      </a:accent1>
      <a:accent2>
        <a:srgbClr val="8593AF"/>
      </a:accent2>
      <a:accent3>
        <a:srgbClr val="B484A2"/>
      </a:accent3>
      <a:accent4>
        <a:srgbClr val="3F3F42"/>
      </a:accent4>
      <a:accent5>
        <a:srgbClr val="DEC55B"/>
      </a:accent5>
      <a:accent6>
        <a:srgbClr val="A4A4A6"/>
      </a:accent6>
      <a:hlink>
        <a:srgbClr val="A4A4A6"/>
      </a:hlink>
      <a:folHlink>
        <a:srgbClr val="F2B1D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D298C3D-C31F-458C-9933-BA36B92AFBCB}">
  <we:reference id="f12c312d-282a-4734-8843-05915fdfef0b" version="4.3.3.0" store="EXCatalog" storeType="EXCatalog"/>
  <we:alternateReferences>
    <we:reference id="WA104178141" version="4.3.3.0" store="sv-S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Asiakirja" ma:contentTypeID="0x01010051B1A51AFBF2AA4B9A215A3B7AE908F9" ma:contentTypeVersion="4" ma:contentTypeDescription="Luo uusi asiakirja." ma:contentTypeScope="" ma:versionID="e44514b7b004b02aee34c677a1f676df">
  <xsd:schema xmlns:xsd="http://www.w3.org/2001/XMLSchema" xmlns:xs="http://www.w3.org/2001/XMLSchema" xmlns:p="http://schemas.microsoft.com/office/2006/metadata/properties" xmlns:ns2="a367c54b-6545-4cb3-8de6-392642879efe" targetNamespace="http://schemas.microsoft.com/office/2006/metadata/properties" ma:root="true" ma:fieldsID="977129752c9e249998cd750a51d68082" ns2:_="">
    <xsd:import namespace="a367c54b-6545-4cb3-8de6-392642879ef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367c54b-6545-4cb3-8de6-392642879e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773CC4B-809C-48B9-A6B1-2F1AA2A1D1C6}">
  <ds:schemaRefs>
    <ds:schemaRef ds:uri="http://schemas.microsoft.com/office/2006/metadata/properties"/>
    <ds:schemaRef ds:uri="a367c54b-6545-4cb3-8de6-392642879efe"/>
    <ds:schemaRef ds:uri="http://www.w3.org/XML/1998/namespace"/>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purl.org/dc/dcmitype/"/>
    <ds:schemaRef ds:uri="http://purl.org/dc/terms/"/>
  </ds:schemaRefs>
</ds:datastoreItem>
</file>

<file path=customXml/itemProps2.xml><?xml version="1.0" encoding="utf-8"?>
<ds:datastoreItem xmlns:ds="http://schemas.openxmlformats.org/officeDocument/2006/customXml" ds:itemID="{D5C52CF4-4325-4CD4-A161-4C31023A7600}">
  <ds:schemaRefs>
    <ds:schemaRef ds:uri="a367c54b-6545-4cb3-8de6-392642879ef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7FB8FDF-B514-401D-A344-B543D08FAAE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046</Words>
  <Application>Microsoft Office PowerPoint</Application>
  <PresentationFormat>Laajakuva</PresentationFormat>
  <Paragraphs>377</Paragraphs>
  <Slides>35</Slides>
  <Notes>3</Notes>
  <HiddenSlides>0</HiddenSlides>
  <MMClips>0</MMClips>
  <ScaleCrop>false</ScaleCrop>
  <HeadingPairs>
    <vt:vector size="8" baseType="variant">
      <vt:variant>
        <vt:lpstr>Käytetyt fontit</vt:lpstr>
      </vt:variant>
      <vt:variant>
        <vt:i4>16</vt:i4>
      </vt:variant>
      <vt:variant>
        <vt:lpstr>Teema</vt:lpstr>
      </vt:variant>
      <vt:variant>
        <vt:i4>3</vt:i4>
      </vt:variant>
      <vt:variant>
        <vt:lpstr>Upotetut OLE-palvelimet</vt:lpstr>
      </vt:variant>
      <vt:variant>
        <vt:i4>1</vt:i4>
      </vt:variant>
      <vt:variant>
        <vt:lpstr>Dian otsikot</vt:lpstr>
      </vt:variant>
      <vt:variant>
        <vt:i4>35</vt:i4>
      </vt:variant>
    </vt:vector>
  </HeadingPairs>
  <TitlesOfParts>
    <vt:vector size="55" baseType="lpstr">
      <vt:lpstr>Open sans</vt:lpstr>
      <vt:lpstr>Times New Roman</vt:lpstr>
      <vt:lpstr>Open sans</vt:lpstr>
      <vt:lpstr>Wingdings</vt:lpstr>
      <vt:lpstr>Arial</vt:lpstr>
      <vt:lpstr>Sweco Sans</vt:lpstr>
      <vt:lpstr>FS Emeric Light</vt:lpstr>
      <vt:lpstr>Open Sans Extrabold</vt:lpstr>
      <vt:lpstr>FS Emeric Book</vt:lpstr>
      <vt:lpstr>Muli</vt:lpstr>
      <vt:lpstr>Calibri</vt:lpstr>
      <vt:lpstr>ヒラギノ角ゴ Pro W3</vt:lpstr>
      <vt:lpstr>ＭＳ Ｐゴシック</vt:lpstr>
      <vt:lpstr>Sweco Sans Medium</vt:lpstr>
      <vt:lpstr>Calibri Light</vt:lpstr>
      <vt:lpstr>Source Sans Pro</vt:lpstr>
      <vt:lpstr>Office-tema</vt:lpstr>
      <vt:lpstr>ely_new2021</vt:lpstr>
      <vt:lpstr>1_MC Master 2020_v02</vt:lpstr>
      <vt:lpstr>think-cell Slide</vt:lpstr>
      <vt:lpstr>IIN STRATEGINEN YLEISKAAVA 2040  Kaavaluonnos  Esittely- ja keskustelutilaisuus 26.4.2022</vt:lpstr>
      <vt:lpstr>Tilaisuuden ohjeistus</vt:lpstr>
      <vt:lpstr>Ohjelma</vt:lpstr>
      <vt:lpstr>Esittelijät</vt:lpstr>
      <vt:lpstr>Yleiskaavan tavoitteet</vt:lpstr>
      <vt:lpstr>Kaavajärjestelmä</vt:lpstr>
      <vt:lpstr>Kaavaprosessin keskeiset vaiheet</vt:lpstr>
      <vt:lpstr>Keskeisiä lähtötietoja ja tehdyt selvitykset</vt:lpstr>
      <vt:lpstr>Lähtökohtia: Pohjois-Pohjanmaan maakuntakaava</vt:lpstr>
      <vt:lpstr>Otteita taustaselvityksistä: Asemanseudun maankäyttöselvitys</vt:lpstr>
      <vt:lpstr>Vuorovaikutusmenettelyt</vt:lpstr>
      <vt:lpstr>VAIHTOEHTO 1. ”LUONNOLLINEN” Vaihtoehdossa korostuu kunnan kehittäminen luonnon, maiseman luonteen ja kulttuuriympäristön ehdoilla. </vt:lpstr>
      <vt:lpstr>Kaavaluonnos teemoittain</vt:lpstr>
      <vt:lpstr>Yleiskaavamääräykset</vt:lpstr>
      <vt:lpstr>Vaikutusten arviointi</vt:lpstr>
      <vt:lpstr>Yhdyskuntarakenne ja asutus</vt:lpstr>
      <vt:lpstr>Esimerkki liitteenä olevista kyläkuvauksista</vt:lpstr>
      <vt:lpstr>Keskukset, elinkeinot ja energia</vt:lpstr>
      <vt:lpstr>Tuulivoima kaavaluonnoksessa</vt:lpstr>
      <vt:lpstr>Luonnonsuojelu ja maisema</vt:lpstr>
      <vt:lpstr>Matkailu, virkistys ja reitit</vt:lpstr>
      <vt:lpstr>Liikenne</vt:lpstr>
      <vt:lpstr>Liikenne: valtatien 4 kehittäminen</vt:lpstr>
      <vt:lpstr>PowerPoint-esitys</vt:lpstr>
      <vt:lpstr>PowerPoint-esitys</vt:lpstr>
      <vt:lpstr>Tiensuunnittelun vaiheet</vt:lpstr>
      <vt:lpstr>Liikenne</vt:lpstr>
      <vt:lpstr>PowerPoint-esitys</vt:lpstr>
      <vt:lpstr>PowerPoint-esitys</vt:lpstr>
      <vt:lpstr>PowerPoint-esitys</vt:lpstr>
      <vt:lpstr>PowerPoint-esitys</vt:lpstr>
      <vt:lpstr>PowerPoint-esitys</vt:lpstr>
      <vt:lpstr>PowerPoint-esitys</vt:lpstr>
      <vt:lpstr>Palautteen antaminen</vt:lpstr>
      <vt:lpstr>PowerPoint-esitys</vt:lpstr>
    </vt:vector>
  </TitlesOfParts>
  <Company>Sweco Ympäristö O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lläs OYK</dc:title>
  <dc:subject>asialista ja selvitykset</dc:subject>
  <dc:creator>Sanukka Lehtiö</dc:creator>
  <cp:keywords>17.3.2021</cp:keywords>
  <cp:lastModifiedBy>Nissinen Elina</cp:lastModifiedBy>
  <cp:revision>1</cp:revision>
  <cp:lastPrinted>2022-04-26T05:35:48Z</cp:lastPrinted>
  <dcterms:created xsi:type="dcterms:W3CDTF">2015-12-01T16:59:12Z</dcterms:created>
  <dcterms:modified xsi:type="dcterms:W3CDTF">2022-04-29T09:43:48Z</dcterms:modified>
  <cp:category>työneuvottelu</cp:category>
  <cp:contentStatus>luonnos</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weco_Language">
    <vt:lpwstr>FI</vt:lpwstr>
  </property>
  <property fmtid="{D5CDD505-2E9C-101B-9397-08002B2CF9AE}" pid="3" name="Sweco_CompanyNo">
    <vt:lpwstr>206</vt:lpwstr>
  </property>
  <property fmtid="{D5CDD505-2E9C-101B-9397-08002B2CF9AE}" pid="4" name="Sweco_TemplateFileName">
    <vt:lpwstr>\Global\Presentation Sweco 16_9 Arial (003).pptx</vt:lpwstr>
  </property>
  <property fmtid="{D5CDD505-2E9C-101B-9397-08002B2CF9AE}" pid="5" name="MSIP_Label_43f08ec5-d6d9-4227-8387-ccbfcb3632c4_Enabled">
    <vt:lpwstr>true</vt:lpwstr>
  </property>
  <property fmtid="{D5CDD505-2E9C-101B-9397-08002B2CF9AE}" pid="6" name="MSIP_Label_43f08ec5-d6d9-4227-8387-ccbfcb3632c4_SetDate">
    <vt:lpwstr>2020-11-12T09:43:30Z</vt:lpwstr>
  </property>
  <property fmtid="{D5CDD505-2E9C-101B-9397-08002B2CF9AE}" pid="7" name="MSIP_Label_43f08ec5-d6d9-4227-8387-ccbfcb3632c4_Method">
    <vt:lpwstr>Standard</vt:lpwstr>
  </property>
  <property fmtid="{D5CDD505-2E9C-101B-9397-08002B2CF9AE}" pid="8" name="MSIP_Label_43f08ec5-d6d9-4227-8387-ccbfcb3632c4_Name">
    <vt:lpwstr>Sweco Restricted</vt:lpwstr>
  </property>
  <property fmtid="{D5CDD505-2E9C-101B-9397-08002B2CF9AE}" pid="9" name="MSIP_Label_43f08ec5-d6d9-4227-8387-ccbfcb3632c4_SiteId">
    <vt:lpwstr>b7872ef0-9a00-4c18-8a4a-c7d25c778a9e</vt:lpwstr>
  </property>
  <property fmtid="{D5CDD505-2E9C-101B-9397-08002B2CF9AE}" pid="10" name="MSIP_Label_43f08ec5-d6d9-4227-8387-ccbfcb3632c4_ActionId">
    <vt:lpwstr>9ccc673f-68e0-41d1-88a2-0000eb293eec</vt:lpwstr>
  </property>
  <property fmtid="{D5CDD505-2E9C-101B-9397-08002B2CF9AE}" pid="11" name="MSIP_Label_43f08ec5-d6d9-4227-8387-ccbfcb3632c4_ContentBits">
    <vt:lpwstr>0</vt:lpwstr>
  </property>
  <property fmtid="{D5CDD505-2E9C-101B-9397-08002B2CF9AE}" pid="12" name="ContentTypeId">
    <vt:lpwstr>0x01010051B1A51AFBF2AA4B9A215A3B7AE908F9</vt:lpwstr>
  </property>
</Properties>
</file>